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8" r:id="rId1"/>
    <p:sldMasterId id="2147483717" r:id="rId2"/>
    <p:sldMasterId id="2147483743" r:id="rId3"/>
  </p:sldMasterIdLst>
  <p:notesMasterIdLst>
    <p:notesMasterId r:id="rId6"/>
  </p:notesMasterIdLst>
  <p:handoutMasterIdLst>
    <p:handoutMasterId r:id="rId7"/>
  </p:handoutMasterIdLst>
  <p:sldIdLst>
    <p:sldId id="256" r:id="rId4"/>
    <p:sldId id="257" r:id="rId5"/>
  </p:sldIdLst>
  <p:sldSz cx="12192000" cy="6858000"/>
  <p:notesSz cx="6858000" cy="9144000"/>
  <p:defaultTextStyle>
    <a:defPPr>
      <a:defRPr lang="en-US"/>
    </a:defPPr>
    <a:lvl1pPr marL="0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71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143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216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285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356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429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500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572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D5885"/>
    <a:srgbClr val="417C7B"/>
    <a:srgbClr val="5D426B"/>
    <a:srgbClr val="760102"/>
    <a:srgbClr val="404040"/>
    <a:srgbClr val="EAEAEA"/>
    <a:srgbClr val="2C4063"/>
    <a:srgbClr val="870101"/>
    <a:srgbClr val="3159A0"/>
    <a:srgbClr val="3F6F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88AED31-BEC2-47E9-874C-73BA2ABF35D6}" v="27" dt="2022-10-27T23:53:27.97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6" autoAdjust="0"/>
    <p:restoredTop sz="96286" autoAdjust="0"/>
  </p:normalViewPr>
  <p:slideViewPr>
    <p:cSldViewPr snapToGrid="0" snapToObjects="1">
      <p:cViewPr varScale="1">
        <p:scale>
          <a:sx n="86" d="100"/>
          <a:sy n="86" d="100"/>
        </p:scale>
        <p:origin x="48" y="15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100" d="100"/>
          <a:sy n="100" d="100"/>
        </p:scale>
        <p:origin x="-2016" y="156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handoutMaster" Target="handoutMasters/handoutMaster1.xml"/><Relationship Id="rId12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2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40DA1FA-7209-45C3-B406-6259848CD8BF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F2667C2-8F83-416C-9897-25E40E16F991}">
      <dgm:prSet phldrT="[Text]" custT="1"/>
      <dgm:spPr>
        <a:xfrm>
          <a:off x="0" y="1444"/>
          <a:ext cx="2753236" cy="1228928"/>
        </a:xfrm>
        <a:prstGeom prst="roundRect">
          <a:avLst/>
        </a:prstGeom>
        <a:solidFill>
          <a:schemeClr val="tx1"/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sz="2400" b="1" dirty="0">
              <a:solidFill>
                <a:schemeClr val="accent5"/>
              </a:solidFill>
              <a:latin typeface="Arial"/>
              <a:ea typeface="+mn-ea"/>
              <a:cs typeface="+mn-cs"/>
            </a:rPr>
            <a:t>Vision</a:t>
          </a:r>
        </a:p>
      </dgm:t>
    </dgm:pt>
    <dgm:pt modelId="{DA6E9C60-9B4A-4E85-8DCC-D50B2F71B3B4}" type="parTrans" cxnId="{30EDFD5F-CEF6-4F33-9532-7A6CCE47ABB1}">
      <dgm:prSet/>
      <dgm:spPr/>
      <dgm:t>
        <a:bodyPr/>
        <a:lstStyle/>
        <a:p>
          <a:endParaRPr lang="en-US"/>
        </a:p>
      </dgm:t>
    </dgm:pt>
    <dgm:pt modelId="{B45A3F60-3871-474C-B47D-B41E4FCAA66E}" type="sibTrans" cxnId="{30EDFD5F-CEF6-4F33-9532-7A6CCE47ABB1}">
      <dgm:prSet/>
      <dgm:spPr/>
      <dgm:t>
        <a:bodyPr/>
        <a:lstStyle/>
        <a:p>
          <a:endParaRPr lang="en-US"/>
        </a:p>
      </dgm:t>
    </dgm:pt>
    <dgm:pt modelId="{FE5DF8FB-0E29-4B66-A80B-26E759A7E234}">
      <dgm:prSet phldrT="[Text]" custT="1"/>
      <dgm:spPr>
        <a:xfrm rot="5400000">
          <a:off x="4700232" y="-1831412"/>
          <a:ext cx="1000651" cy="4894643"/>
        </a:xfrm>
        <a:prstGeom prst="round2SameRect">
          <a:avLst/>
        </a:prstGeom>
        <a:solidFill>
          <a:schemeClr val="bg2">
            <a:lumMod val="85000"/>
            <a:alpha val="90000"/>
          </a:schemeClr>
        </a:solidFill>
        <a:ln w="12700" cap="flat" cmpd="sng" algn="ctr">
          <a:solidFill>
            <a:srgbClr val="0085D5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 marL="45720" indent="0">
            <a:lnSpc>
              <a:spcPct val="100000"/>
            </a:lnSpc>
            <a:buClrTx/>
            <a:buSzTx/>
            <a:buFontTx/>
            <a:buNone/>
          </a:pPr>
          <a:r>
            <a:rPr kumimoji="0" lang="en-US" sz="1200" i="0" u="none" strike="noStrike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/>
              <a:ea typeface="+mn-ea"/>
              <a:cs typeface="+mn-cs"/>
            </a:rPr>
            <a:t>For [Insert Data Organization Name], and ultimately all of [Insert Company Name], realize the full potential of our data, enabling employees and customers to </a:t>
          </a:r>
          <a:r>
            <a:rPr lang="en-US" sz="1200" dirty="0">
              <a:solidFill>
                <a:srgbClr val="53565A"/>
              </a:solidFill>
              <a:latin typeface="Arial"/>
              <a:ea typeface="+mn-ea"/>
              <a:cs typeface="+mn-cs"/>
            </a:rPr>
            <a:t>gain greater insights, </a:t>
          </a:r>
          <a:r>
            <a:rPr kumimoji="0" lang="en-US" sz="1200" i="0" u="none" strike="noStrike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/>
              <a:ea typeface="+mn-ea"/>
              <a:cs typeface="+mn-cs"/>
            </a:rPr>
            <a:t>make better decisions and improve outcomes</a:t>
          </a:r>
          <a:endParaRPr lang="en-US" sz="1200" dirty="0">
            <a:solidFill>
              <a:srgbClr val="53565A"/>
            </a:solidFill>
            <a:latin typeface="Arial"/>
            <a:ea typeface="+mn-ea"/>
            <a:cs typeface="+mn-cs"/>
          </a:endParaRPr>
        </a:p>
      </dgm:t>
    </dgm:pt>
    <dgm:pt modelId="{41EC3D60-48EA-4CD6-AC04-01042117E696}" type="parTrans" cxnId="{14C1A643-AA87-48D2-AD23-4E7BE72CB9FD}">
      <dgm:prSet/>
      <dgm:spPr/>
      <dgm:t>
        <a:bodyPr/>
        <a:lstStyle/>
        <a:p>
          <a:endParaRPr lang="en-US"/>
        </a:p>
      </dgm:t>
    </dgm:pt>
    <dgm:pt modelId="{AE0C6EE3-B499-4244-AAB1-69664D3C4C64}" type="sibTrans" cxnId="{14C1A643-AA87-48D2-AD23-4E7BE72CB9FD}">
      <dgm:prSet/>
      <dgm:spPr/>
      <dgm:t>
        <a:bodyPr/>
        <a:lstStyle/>
        <a:p>
          <a:endParaRPr lang="en-US"/>
        </a:p>
      </dgm:t>
    </dgm:pt>
    <dgm:pt modelId="{50570841-CEFA-4062-9EFF-383B7F6B433B}">
      <dgm:prSet phldrT="[Text]" custT="1"/>
      <dgm:spPr>
        <a:xfrm>
          <a:off x="0" y="1371568"/>
          <a:ext cx="2753236" cy="1228928"/>
        </a:xfrm>
        <a:prstGeom prst="roundRect">
          <a:avLst/>
        </a:prstGeom>
        <a:solidFill>
          <a:schemeClr val="tx1">
            <a:lumMod val="50000"/>
            <a:lumOff val="50000"/>
          </a:scheme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sz="2400" b="1" dirty="0">
              <a:solidFill>
                <a:schemeClr val="accent5"/>
              </a:solidFill>
              <a:latin typeface="Arial"/>
              <a:ea typeface="+mn-ea"/>
              <a:cs typeface="+mn-cs"/>
            </a:rPr>
            <a:t>Mission</a:t>
          </a:r>
        </a:p>
      </dgm:t>
    </dgm:pt>
    <dgm:pt modelId="{A2FB6ED3-E5A1-414E-B60B-3881263719C6}" type="parTrans" cxnId="{6947A5ED-CBB5-41A1-9B6D-53A912322793}">
      <dgm:prSet/>
      <dgm:spPr/>
      <dgm:t>
        <a:bodyPr/>
        <a:lstStyle/>
        <a:p>
          <a:endParaRPr lang="en-US"/>
        </a:p>
      </dgm:t>
    </dgm:pt>
    <dgm:pt modelId="{9B8B6C12-9161-4FC8-BC4D-BC40C1912948}" type="sibTrans" cxnId="{6947A5ED-CBB5-41A1-9B6D-53A912322793}">
      <dgm:prSet/>
      <dgm:spPr/>
      <dgm:t>
        <a:bodyPr/>
        <a:lstStyle/>
        <a:p>
          <a:endParaRPr lang="en-US"/>
        </a:p>
      </dgm:t>
    </dgm:pt>
    <dgm:pt modelId="{39430D55-C1AD-42E7-9D58-319985AC0229}">
      <dgm:prSet phldrT="[Text]" custT="1"/>
      <dgm:spPr>
        <a:xfrm rot="5400000">
          <a:off x="4700232" y="-461289"/>
          <a:ext cx="1000651" cy="4894643"/>
        </a:xfrm>
        <a:prstGeom prst="round2SameRect">
          <a:avLst/>
        </a:prstGeom>
        <a:solidFill>
          <a:schemeClr val="bg2">
            <a:lumMod val="85000"/>
            <a:alpha val="90000"/>
          </a:schemeClr>
        </a:solidFill>
        <a:ln w="12700" cap="flat" cmpd="sng" algn="ctr">
          <a:solidFill>
            <a:srgbClr val="0085D5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 marL="45720" indent="0">
            <a:lnSpc>
              <a:spcPct val="100000"/>
            </a:lnSpc>
            <a:buClrTx/>
            <a:buSzTx/>
            <a:buFontTx/>
            <a:buNone/>
          </a:pPr>
          <a:r>
            <a:rPr lang="en-US" sz="1200" b="0" i="0" dirty="0">
              <a:solidFill>
                <a:srgbClr val="3E4043"/>
              </a:solidFill>
              <a:effectLst/>
              <a:latin typeface="Arial"/>
              <a:ea typeface="+mn-ea"/>
              <a:cs typeface="+mn-cs"/>
            </a:rPr>
            <a:t>Establish Data Strategy &amp; Data Governance end to end by playing a more active stakeholder role in improving </a:t>
          </a:r>
          <a:r>
            <a:rPr lang="en-US" sz="1200" b="1" i="0" dirty="0">
              <a:solidFill>
                <a:srgbClr val="3E4043"/>
              </a:solidFill>
              <a:effectLst/>
              <a:latin typeface="Arial"/>
              <a:ea typeface="+mn-ea"/>
              <a:cs typeface="+mn-cs"/>
            </a:rPr>
            <a:t>quality</a:t>
          </a:r>
          <a:r>
            <a:rPr lang="en-US" sz="1200" b="0" i="0" dirty="0">
              <a:solidFill>
                <a:srgbClr val="3E4043"/>
              </a:solidFill>
              <a:effectLst/>
              <a:latin typeface="Arial"/>
              <a:ea typeface="+mn-ea"/>
              <a:cs typeface="+mn-cs"/>
            </a:rPr>
            <a:t>, </a:t>
          </a:r>
          <a:r>
            <a:rPr lang="en-US" sz="1200" b="1" i="0" dirty="0">
              <a:solidFill>
                <a:srgbClr val="3E4043"/>
              </a:solidFill>
              <a:effectLst/>
              <a:latin typeface="Arial"/>
              <a:ea typeface="+mn-ea"/>
              <a:cs typeface="+mn-cs"/>
            </a:rPr>
            <a:t>efficiency</a:t>
          </a:r>
          <a:r>
            <a:rPr lang="en-US" sz="1200" b="0" i="0" dirty="0">
              <a:solidFill>
                <a:srgbClr val="3E4043"/>
              </a:solidFill>
              <a:effectLst/>
              <a:latin typeface="Arial"/>
              <a:ea typeface="+mn-ea"/>
              <a:cs typeface="+mn-cs"/>
            </a:rPr>
            <a:t> and </a:t>
          </a:r>
          <a:r>
            <a:rPr lang="en-US" sz="1200" b="1" i="0" dirty="0">
              <a:solidFill>
                <a:srgbClr val="3E4043"/>
              </a:solidFill>
              <a:effectLst/>
              <a:latin typeface="Arial"/>
              <a:ea typeface="+mn-ea"/>
              <a:cs typeface="+mn-cs"/>
            </a:rPr>
            <a:t>value</a:t>
          </a:r>
          <a:r>
            <a:rPr lang="en-US" sz="1200" b="0" i="0" dirty="0">
              <a:solidFill>
                <a:srgbClr val="3E4043"/>
              </a:solidFill>
              <a:effectLst/>
              <a:latin typeface="Arial"/>
              <a:ea typeface="+mn-ea"/>
              <a:cs typeface="+mn-cs"/>
            </a:rPr>
            <a:t> in how data is used within [Insert Company Name], driving digital transformation and enabling the [Insert Data Project Name or Line of Business].</a:t>
          </a:r>
          <a:endParaRPr lang="en-US" sz="1200" dirty="0">
            <a:solidFill>
              <a:srgbClr val="53565A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gm:t>
    </dgm:pt>
    <dgm:pt modelId="{66B9F2AB-51BC-4087-BFEE-F8B4D3D97FFC}" type="parTrans" cxnId="{81CDEB01-4DD2-4CBB-AAB2-0BBA69412DCF}">
      <dgm:prSet/>
      <dgm:spPr/>
      <dgm:t>
        <a:bodyPr/>
        <a:lstStyle/>
        <a:p>
          <a:endParaRPr lang="en-US"/>
        </a:p>
      </dgm:t>
    </dgm:pt>
    <dgm:pt modelId="{2F51AD97-10D2-4819-A21A-87EFBCA748D3}" type="sibTrans" cxnId="{81CDEB01-4DD2-4CBB-AAB2-0BBA69412DCF}">
      <dgm:prSet/>
      <dgm:spPr/>
      <dgm:t>
        <a:bodyPr/>
        <a:lstStyle/>
        <a:p>
          <a:endParaRPr lang="en-US"/>
        </a:p>
      </dgm:t>
    </dgm:pt>
    <dgm:pt modelId="{07B302AF-7A0B-43A3-B33D-82C7CE774F3E}">
      <dgm:prSet phldrT="[Text]" custT="1"/>
      <dgm:spPr>
        <a:xfrm>
          <a:off x="0" y="2741691"/>
          <a:ext cx="2753236" cy="1228928"/>
        </a:xfrm>
        <a:prstGeom prst="roundRect">
          <a:avLst/>
        </a:prstGeom>
        <a:solidFill>
          <a:schemeClr val="accent6"/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sz="2400" b="1" dirty="0">
              <a:solidFill>
                <a:schemeClr val="accent5"/>
              </a:solidFill>
              <a:latin typeface="Arial"/>
              <a:ea typeface="+mn-ea"/>
              <a:cs typeface="+mn-cs"/>
            </a:rPr>
            <a:t>Goal</a:t>
          </a:r>
        </a:p>
      </dgm:t>
    </dgm:pt>
    <dgm:pt modelId="{A7B6E17C-83BC-4A21-A8CF-A425BFE3D562}" type="parTrans" cxnId="{4564B856-DBD9-486E-B2A7-1AAD30032370}">
      <dgm:prSet/>
      <dgm:spPr/>
      <dgm:t>
        <a:bodyPr/>
        <a:lstStyle/>
        <a:p>
          <a:endParaRPr lang="en-US"/>
        </a:p>
      </dgm:t>
    </dgm:pt>
    <dgm:pt modelId="{B602E2D8-67D3-4456-A82D-96888CEC9D6D}" type="sibTrans" cxnId="{4564B856-DBD9-486E-B2A7-1AAD30032370}">
      <dgm:prSet/>
      <dgm:spPr/>
      <dgm:t>
        <a:bodyPr/>
        <a:lstStyle/>
        <a:p>
          <a:endParaRPr lang="en-US"/>
        </a:p>
      </dgm:t>
    </dgm:pt>
    <dgm:pt modelId="{14F8A412-2BA6-410C-B843-0264E86B9B4C}">
      <dgm:prSet phldrT="[Text]" custT="1"/>
      <dgm:spPr>
        <a:xfrm rot="5400000">
          <a:off x="4700232" y="908834"/>
          <a:ext cx="1000651" cy="4894643"/>
        </a:xfrm>
        <a:prstGeom prst="round2SameRect">
          <a:avLst/>
        </a:prstGeom>
        <a:solidFill>
          <a:schemeClr val="bg2">
            <a:lumMod val="85000"/>
            <a:alpha val="90000"/>
          </a:schemeClr>
        </a:solidFill>
        <a:ln w="12700" cap="flat" cmpd="sng" algn="ctr">
          <a:solidFill>
            <a:srgbClr val="0085D5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 indent="0">
            <a:buClrTx/>
            <a:buSzTx/>
            <a:buFont typeface="Arial" panose="020B0604020202020204" pitchFamily="34" charset="0"/>
            <a:buNone/>
          </a:pPr>
          <a:r>
            <a:rPr lang="en-US" sz="1200" dirty="0">
              <a:solidFill>
                <a:srgbClr val="53565A"/>
              </a:solidFill>
              <a:effectLst/>
              <a:latin typeface="Arial"/>
              <a:ea typeface="+mn-ea"/>
              <a:cs typeface="+mn-cs"/>
            </a:rPr>
            <a:t>Create a </a:t>
          </a:r>
          <a:r>
            <a:rPr lang="en-US" sz="1200" b="1" dirty="0">
              <a:solidFill>
                <a:srgbClr val="53565A"/>
              </a:solidFill>
              <a:effectLst/>
              <a:latin typeface="Arial"/>
              <a:ea typeface="+mn-ea"/>
              <a:cs typeface="+mn-cs"/>
            </a:rPr>
            <a:t>standard approach to data </a:t>
          </a:r>
          <a:r>
            <a:rPr lang="en-US" sz="1200" b="1" dirty="0">
              <a:solidFill>
                <a:srgbClr val="53565A"/>
              </a:solidFill>
              <a:latin typeface="Arial"/>
              <a:ea typeface="+mn-ea"/>
              <a:cs typeface="+mn-cs"/>
            </a:rPr>
            <a:t>quality </a:t>
          </a:r>
          <a:r>
            <a:rPr lang="en-US" sz="1200" dirty="0">
              <a:solidFill>
                <a:srgbClr val="53565A"/>
              </a:solidFill>
              <a:latin typeface="Arial"/>
              <a:ea typeface="+mn-ea"/>
              <a:cs typeface="+mn-cs"/>
            </a:rPr>
            <a:t>that fosters a </a:t>
          </a:r>
          <a:r>
            <a:rPr lang="en-US" sz="1200" b="1" dirty="0">
              <a:solidFill>
                <a:srgbClr val="53565A"/>
              </a:solidFill>
              <a:effectLst/>
              <a:latin typeface="Arial"/>
              <a:ea typeface="+mn-ea"/>
              <a:cs typeface="+mn-cs"/>
            </a:rPr>
            <a:t>data-driven culture. </a:t>
          </a:r>
          <a:r>
            <a:rPr lang="en-US" sz="1200" dirty="0">
              <a:solidFill>
                <a:srgbClr val="53565A"/>
              </a:solidFill>
              <a:effectLst/>
              <a:latin typeface="Arial"/>
              <a:ea typeface="+mn-ea"/>
              <a:cs typeface="+mn-cs"/>
            </a:rPr>
            <a:t>Provide clear policies, practices, and standards to ensure data is accessible, secure, understood, high quality, and trusted​.</a:t>
          </a:r>
          <a:endParaRPr lang="en-US" sz="1200" dirty="0">
            <a:solidFill>
              <a:srgbClr val="53565A"/>
            </a:solidFill>
            <a:latin typeface="Arial"/>
            <a:ea typeface="+mn-ea"/>
            <a:cs typeface="+mn-cs"/>
          </a:endParaRPr>
        </a:p>
      </dgm:t>
    </dgm:pt>
    <dgm:pt modelId="{76388607-16F2-41AD-9E1E-C7D6FC112E45}" type="parTrans" cxnId="{82C8D300-B6E6-4860-91E8-7E40AEAA49A5}">
      <dgm:prSet/>
      <dgm:spPr/>
      <dgm:t>
        <a:bodyPr/>
        <a:lstStyle/>
        <a:p>
          <a:endParaRPr lang="en-US"/>
        </a:p>
      </dgm:t>
    </dgm:pt>
    <dgm:pt modelId="{02056808-FF1B-4723-9932-78DCDCAB389A}" type="sibTrans" cxnId="{82C8D300-B6E6-4860-91E8-7E40AEAA49A5}">
      <dgm:prSet/>
      <dgm:spPr/>
      <dgm:t>
        <a:bodyPr/>
        <a:lstStyle/>
        <a:p>
          <a:endParaRPr lang="en-US"/>
        </a:p>
      </dgm:t>
    </dgm:pt>
    <dgm:pt modelId="{AFAD1EFC-1D5B-420A-B3FA-D87151096BF0}" type="pres">
      <dgm:prSet presAssocID="{A40DA1FA-7209-45C3-B406-6259848CD8BF}" presName="Name0" presStyleCnt="0">
        <dgm:presLayoutVars>
          <dgm:dir/>
          <dgm:animLvl val="lvl"/>
          <dgm:resizeHandles val="exact"/>
        </dgm:presLayoutVars>
      </dgm:prSet>
      <dgm:spPr/>
    </dgm:pt>
    <dgm:pt modelId="{BDBE6811-D38B-48E5-AEDB-C65B47542ABB}" type="pres">
      <dgm:prSet presAssocID="{DF2667C2-8F83-416C-9897-25E40E16F991}" presName="linNode" presStyleCnt="0"/>
      <dgm:spPr/>
    </dgm:pt>
    <dgm:pt modelId="{4FDC9A53-6B3B-447C-95C5-BDEFF32E1415}" type="pres">
      <dgm:prSet presAssocID="{DF2667C2-8F83-416C-9897-25E40E16F991}" presName="parentText" presStyleLbl="node1" presStyleIdx="0" presStyleCnt="3" custScaleY="43519">
        <dgm:presLayoutVars>
          <dgm:chMax val="1"/>
          <dgm:bulletEnabled val="1"/>
        </dgm:presLayoutVars>
      </dgm:prSet>
      <dgm:spPr/>
    </dgm:pt>
    <dgm:pt modelId="{BC5C8983-5985-4B74-B135-17B77A55C3EA}" type="pres">
      <dgm:prSet presAssocID="{DF2667C2-8F83-416C-9897-25E40E16F991}" presName="descendantText" presStyleLbl="alignAccFollowNode1" presStyleIdx="0" presStyleCnt="3" custScaleY="44294">
        <dgm:presLayoutVars>
          <dgm:bulletEnabled val="1"/>
        </dgm:presLayoutVars>
      </dgm:prSet>
      <dgm:spPr/>
    </dgm:pt>
    <dgm:pt modelId="{FB6FD78B-8056-4408-8DCF-63FAE0093B5D}" type="pres">
      <dgm:prSet presAssocID="{B45A3F60-3871-474C-B47D-B41E4FCAA66E}" presName="sp" presStyleCnt="0"/>
      <dgm:spPr/>
    </dgm:pt>
    <dgm:pt modelId="{4A428427-2FA4-4322-9F05-BDB93B94F864}" type="pres">
      <dgm:prSet presAssocID="{50570841-CEFA-4062-9EFF-383B7F6B433B}" presName="linNode" presStyleCnt="0"/>
      <dgm:spPr/>
    </dgm:pt>
    <dgm:pt modelId="{BB7DF7F9-7596-4C20-AACC-50DD52AB1D1C}" type="pres">
      <dgm:prSet presAssocID="{50570841-CEFA-4062-9EFF-383B7F6B433B}" presName="parentText" presStyleLbl="node1" presStyleIdx="1" presStyleCnt="3" custScaleY="43519">
        <dgm:presLayoutVars>
          <dgm:chMax val="1"/>
          <dgm:bulletEnabled val="1"/>
        </dgm:presLayoutVars>
      </dgm:prSet>
      <dgm:spPr/>
    </dgm:pt>
    <dgm:pt modelId="{11E1B320-8A9B-4BD7-84B0-5BC79F28422E}" type="pres">
      <dgm:prSet presAssocID="{50570841-CEFA-4062-9EFF-383B7F6B433B}" presName="descendantText" presStyleLbl="alignAccFollowNode1" presStyleIdx="1" presStyleCnt="3" custScaleY="44294">
        <dgm:presLayoutVars>
          <dgm:bulletEnabled val="1"/>
        </dgm:presLayoutVars>
      </dgm:prSet>
      <dgm:spPr/>
    </dgm:pt>
    <dgm:pt modelId="{4D4F46FA-8AAE-4B34-8B44-29C2DDCF8B80}" type="pres">
      <dgm:prSet presAssocID="{9B8B6C12-9161-4FC8-BC4D-BC40C1912948}" presName="sp" presStyleCnt="0"/>
      <dgm:spPr/>
    </dgm:pt>
    <dgm:pt modelId="{0C668D68-7B0F-4C1E-B6D3-A5ED2C011EC0}" type="pres">
      <dgm:prSet presAssocID="{07B302AF-7A0B-43A3-B33D-82C7CE774F3E}" presName="linNode" presStyleCnt="0"/>
      <dgm:spPr/>
    </dgm:pt>
    <dgm:pt modelId="{20FE594C-3971-4E6B-BDF9-8DA3B7DC3934}" type="pres">
      <dgm:prSet presAssocID="{07B302AF-7A0B-43A3-B33D-82C7CE774F3E}" presName="parentText" presStyleLbl="node1" presStyleIdx="2" presStyleCnt="3" custScaleY="43519">
        <dgm:presLayoutVars>
          <dgm:chMax val="1"/>
          <dgm:bulletEnabled val="1"/>
        </dgm:presLayoutVars>
      </dgm:prSet>
      <dgm:spPr/>
    </dgm:pt>
    <dgm:pt modelId="{9E6B84C7-3806-4603-930E-17A29469E5BA}" type="pres">
      <dgm:prSet presAssocID="{07B302AF-7A0B-43A3-B33D-82C7CE774F3E}" presName="descendantText" presStyleLbl="alignAccFollowNode1" presStyleIdx="2" presStyleCnt="3" custScaleY="44294">
        <dgm:presLayoutVars>
          <dgm:bulletEnabled val="1"/>
        </dgm:presLayoutVars>
      </dgm:prSet>
      <dgm:spPr/>
    </dgm:pt>
  </dgm:ptLst>
  <dgm:cxnLst>
    <dgm:cxn modelId="{82C8D300-B6E6-4860-91E8-7E40AEAA49A5}" srcId="{07B302AF-7A0B-43A3-B33D-82C7CE774F3E}" destId="{14F8A412-2BA6-410C-B843-0264E86B9B4C}" srcOrd="0" destOrd="0" parTransId="{76388607-16F2-41AD-9E1E-C7D6FC112E45}" sibTransId="{02056808-FF1B-4723-9932-78DCDCAB389A}"/>
    <dgm:cxn modelId="{81CDEB01-4DD2-4CBB-AAB2-0BBA69412DCF}" srcId="{50570841-CEFA-4062-9EFF-383B7F6B433B}" destId="{39430D55-C1AD-42E7-9D58-319985AC0229}" srcOrd="0" destOrd="0" parTransId="{66B9F2AB-51BC-4087-BFEE-F8B4D3D97FFC}" sibTransId="{2F51AD97-10D2-4819-A21A-87EFBCA748D3}"/>
    <dgm:cxn modelId="{30EDFD5F-CEF6-4F33-9532-7A6CCE47ABB1}" srcId="{A40DA1FA-7209-45C3-B406-6259848CD8BF}" destId="{DF2667C2-8F83-416C-9897-25E40E16F991}" srcOrd="0" destOrd="0" parTransId="{DA6E9C60-9B4A-4E85-8DCC-D50B2F71B3B4}" sibTransId="{B45A3F60-3871-474C-B47D-B41E4FCAA66E}"/>
    <dgm:cxn modelId="{14C1A643-AA87-48D2-AD23-4E7BE72CB9FD}" srcId="{DF2667C2-8F83-416C-9897-25E40E16F991}" destId="{FE5DF8FB-0E29-4B66-A80B-26E759A7E234}" srcOrd="0" destOrd="0" parTransId="{41EC3D60-48EA-4CD6-AC04-01042117E696}" sibTransId="{AE0C6EE3-B499-4244-AAB1-69664D3C4C64}"/>
    <dgm:cxn modelId="{2BF5C268-46DB-48B5-AE7E-C1102F686EEC}" type="presOf" srcId="{50570841-CEFA-4062-9EFF-383B7F6B433B}" destId="{BB7DF7F9-7596-4C20-AACC-50DD52AB1D1C}" srcOrd="0" destOrd="0" presId="urn:microsoft.com/office/officeart/2005/8/layout/vList5"/>
    <dgm:cxn modelId="{7837A975-2B45-4DCA-AE01-66DC27DBBE13}" type="presOf" srcId="{DF2667C2-8F83-416C-9897-25E40E16F991}" destId="{4FDC9A53-6B3B-447C-95C5-BDEFF32E1415}" srcOrd="0" destOrd="0" presId="urn:microsoft.com/office/officeart/2005/8/layout/vList5"/>
    <dgm:cxn modelId="{4564B856-DBD9-486E-B2A7-1AAD30032370}" srcId="{A40DA1FA-7209-45C3-B406-6259848CD8BF}" destId="{07B302AF-7A0B-43A3-B33D-82C7CE774F3E}" srcOrd="2" destOrd="0" parTransId="{A7B6E17C-83BC-4A21-A8CF-A425BFE3D562}" sibTransId="{B602E2D8-67D3-4456-A82D-96888CEC9D6D}"/>
    <dgm:cxn modelId="{25258E84-AA55-4D6B-AB2C-840BA5CABA63}" type="presOf" srcId="{39430D55-C1AD-42E7-9D58-319985AC0229}" destId="{11E1B320-8A9B-4BD7-84B0-5BC79F28422E}" srcOrd="0" destOrd="0" presId="urn:microsoft.com/office/officeart/2005/8/layout/vList5"/>
    <dgm:cxn modelId="{327BDCA7-A187-457A-A07A-845AADC40613}" type="presOf" srcId="{FE5DF8FB-0E29-4B66-A80B-26E759A7E234}" destId="{BC5C8983-5985-4B74-B135-17B77A55C3EA}" srcOrd="0" destOrd="0" presId="urn:microsoft.com/office/officeart/2005/8/layout/vList5"/>
    <dgm:cxn modelId="{ED8E36D8-0E54-4310-9E01-BCA0F2F10875}" type="presOf" srcId="{07B302AF-7A0B-43A3-B33D-82C7CE774F3E}" destId="{20FE594C-3971-4E6B-BDF9-8DA3B7DC3934}" srcOrd="0" destOrd="0" presId="urn:microsoft.com/office/officeart/2005/8/layout/vList5"/>
    <dgm:cxn modelId="{11AC9BD9-5C08-4B1D-A353-47370C01AC8E}" type="presOf" srcId="{14F8A412-2BA6-410C-B843-0264E86B9B4C}" destId="{9E6B84C7-3806-4603-930E-17A29469E5BA}" srcOrd="0" destOrd="0" presId="urn:microsoft.com/office/officeart/2005/8/layout/vList5"/>
    <dgm:cxn modelId="{2C3D24E8-399B-448E-806E-C6F96402CE45}" type="presOf" srcId="{A40DA1FA-7209-45C3-B406-6259848CD8BF}" destId="{AFAD1EFC-1D5B-420A-B3FA-D87151096BF0}" srcOrd="0" destOrd="0" presId="urn:microsoft.com/office/officeart/2005/8/layout/vList5"/>
    <dgm:cxn modelId="{6947A5ED-CBB5-41A1-9B6D-53A912322793}" srcId="{A40DA1FA-7209-45C3-B406-6259848CD8BF}" destId="{50570841-CEFA-4062-9EFF-383B7F6B433B}" srcOrd="1" destOrd="0" parTransId="{A2FB6ED3-E5A1-414E-B60B-3881263719C6}" sibTransId="{9B8B6C12-9161-4FC8-BC4D-BC40C1912948}"/>
    <dgm:cxn modelId="{2415B591-1963-4857-9C99-D7926BF60E69}" type="presParOf" srcId="{AFAD1EFC-1D5B-420A-B3FA-D87151096BF0}" destId="{BDBE6811-D38B-48E5-AEDB-C65B47542ABB}" srcOrd="0" destOrd="0" presId="urn:microsoft.com/office/officeart/2005/8/layout/vList5"/>
    <dgm:cxn modelId="{2F0DC800-BDEE-4317-AB38-87A6676E4928}" type="presParOf" srcId="{BDBE6811-D38B-48E5-AEDB-C65B47542ABB}" destId="{4FDC9A53-6B3B-447C-95C5-BDEFF32E1415}" srcOrd="0" destOrd="0" presId="urn:microsoft.com/office/officeart/2005/8/layout/vList5"/>
    <dgm:cxn modelId="{FE47F475-56DD-4FAB-91BF-7413E4FC8642}" type="presParOf" srcId="{BDBE6811-D38B-48E5-AEDB-C65B47542ABB}" destId="{BC5C8983-5985-4B74-B135-17B77A55C3EA}" srcOrd="1" destOrd="0" presId="urn:microsoft.com/office/officeart/2005/8/layout/vList5"/>
    <dgm:cxn modelId="{22AFDB93-E821-4E1D-8298-71BC0B437E0A}" type="presParOf" srcId="{AFAD1EFC-1D5B-420A-B3FA-D87151096BF0}" destId="{FB6FD78B-8056-4408-8DCF-63FAE0093B5D}" srcOrd="1" destOrd="0" presId="urn:microsoft.com/office/officeart/2005/8/layout/vList5"/>
    <dgm:cxn modelId="{83ACB542-FEBA-4850-9B58-893CB37A2548}" type="presParOf" srcId="{AFAD1EFC-1D5B-420A-B3FA-D87151096BF0}" destId="{4A428427-2FA4-4322-9F05-BDB93B94F864}" srcOrd="2" destOrd="0" presId="urn:microsoft.com/office/officeart/2005/8/layout/vList5"/>
    <dgm:cxn modelId="{1807AEC1-9ACB-4668-86D3-34E7D6421CD9}" type="presParOf" srcId="{4A428427-2FA4-4322-9F05-BDB93B94F864}" destId="{BB7DF7F9-7596-4C20-AACC-50DD52AB1D1C}" srcOrd="0" destOrd="0" presId="urn:microsoft.com/office/officeart/2005/8/layout/vList5"/>
    <dgm:cxn modelId="{422989B5-82D1-4340-A40E-C69AE3DE01AA}" type="presParOf" srcId="{4A428427-2FA4-4322-9F05-BDB93B94F864}" destId="{11E1B320-8A9B-4BD7-84B0-5BC79F28422E}" srcOrd="1" destOrd="0" presId="urn:microsoft.com/office/officeart/2005/8/layout/vList5"/>
    <dgm:cxn modelId="{D6CBE163-6334-40BA-A184-D49CD9A2822F}" type="presParOf" srcId="{AFAD1EFC-1D5B-420A-B3FA-D87151096BF0}" destId="{4D4F46FA-8AAE-4B34-8B44-29C2DDCF8B80}" srcOrd="3" destOrd="0" presId="urn:microsoft.com/office/officeart/2005/8/layout/vList5"/>
    <dgm:cxn modelId="{12AD06C0-9FAE-42CD-93FC-55DE8E4A3CAE}" type="presParOf" srcId="{AFAD1EFC-1D5B-420A-B3FA-D87151096BF0}" destId="{0C668D68-7B0F-4C1E-B6D3-A5ED2C011EC0}" srcOrd="4" destOrd="0" presId="urn:microsoft.com/office/officeart/2005/8/layout/vList5"/>
    <dgm:cxn modelId="{5C3112B2-48DA-4CC5-96DB-ECC58FE97412}" type="presParOf" srcId="{0C668D68-7B0F-4C1E-B6D3-A5ED2C011EC0}" destId="{20FE594C-3971-4E6B-BDF9-8DA3B7DC3934}" srcOrd="0" destOrd="0" presId="urn:microsoft.com/office/officeart/2005/8/layout/vList5"/>
    <dgm:cxn modelId="{E55B7A21-86A9-4CF1-A414-3A38E6DB4853}" type="presParOf" srcId="{0C668D68-7B0F-4C1E-B6D3-A5ED2C011EC0}" destId="{9E6B84C7-3806-4603-930E-17A29469E5BA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C5C8983-5985-4B74-B135-17B77A55C3EA}">
      <dsp:nvSpPr>
        <dsp:cNvPr id="0" name=""/>
        <dsp:cNvSpPr/>
      </dsp:nvSpPr>
      <dsp:spPr>
        <a:xfrm rot="5400000">
          <a:off x="4700232" y="-1831412"/>
          <a:ext cx="1000651" cy="4894643"/>
        </a:xfrm>
        <a:prstGeom prst="round2SameRect">
          <a:avLst/>
        </a:prstGeom>
        <a:solidFill>
          <a:schemeClr val="bg2">
            <a:lumMod val="85000"/>
            <a:alpha val="90000"/>
          </a:schemeClr>
        </a:solidFill>
        <a:ln w="12700" cap="flat" cmpd="sng" algn="ctr">
          <a:solidFill>
            <a:srgbClr val="0085D5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45720" lvl="1" indent="0" algn="l" defTabSz="533400">
            <a:lnSpc>
              <a:spcPct val="100000"/>
            </a:lnSpc>
            <a:spcBef>
              <a:spcPct val="0"/>
            </a:spcBef>
            <a:spcAft>
              <a:spcPct val="15000"/>
            </a:spcAft>
            <a:buClrTx/>
            <a:buSzTx/>
            <a:buFontTx/>
            <a:buNone/>
          </a:pPr>
          <a:r>
            <a:rPr kumimoji="0" lang="en-US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/>
              <a:ea typeface="+mn-ea"/>
              <a:cs typeface="+mn-cs"/>
            </a:rPr>
            <a:t>For [Insert Data Organization Name], and ultimately all of [Insert Company Name], realize the full potential of our data, enabling employees and customers to </a:t>
          </a:r>
          <a:r>
            <a:rPr lang="en-US" sz="1200" kern="1200" dirty="0">
              <a:solidFill>
                <a:srgbClr val="53565A"/>
              </a:solidFill>
              <a:latin typeface="Arial"/>
              <a:ea typeface="+mn-ea"/>
              <a:cs typeface="+mn-cs"/>
            </a:rPr>
            <a:t>gain greater insights, </a:t>
          </a:r>
          <a:r>
            <a:rPr kumimoji="0" lang="en-US" sz="120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/>
              <a:ea typeface="+mn-ea"/>
              <a:cs typeface="+mn-cs"/>
            </a:rPr>
            <a:t>make better decisions and improve outcomes</a:t>
          </a:r>
          <a:endParaRPr lang="en-US" sz="1200" kern="1200" dirty="0">
            <a:solidFill>
              <a:srgbClr val="53565A"/>
            </a:solidFill>
            <a:latin typeface="Arial"/>
            <a:ea typeface="+mn-ea"/>
            <a:cs typeface="+mn-cs"/>
          </a:endParaRPr>
        </a:p>
      </dsp:txBody>
      <dsp:txXfrm rot="-5400000">
        <a:off x="2753236" y="164432"/>
        <a:ext cx="4845795" cy="902955"/>
      </dsp:txXfrm>
    </dsp:sp>
    <dsp:sp modelId="{4FDC9A53-6B3B-447C-95C5-BDEFF32E1415}">
      <dsp:nvSpPr>
        <dsp:cNvPr id="0" name=""/>
        <dsp:cNvSpPr/>
      </dsp:nvSpPr>
      <dsp:spPr>
        <a:xfrm>
          <a:off x="0" y="1444"/>
          <a:ext cx="2753236" cy="1228928"/>
        </a:xfrm>
        <a:prstGeom prst="roundRect">
          <a:avLst/>
        </a:prstGeom>
        <a:solidFill>
          <a:schemeClr val="tx1"/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solidFill>
                <a:schemeClr val="accent5"/>
              </a:solidFill>
              <a:latin typeface="Arial"/>
              <a:ea typeface="+mn-ea"/>
              <a:cs typeface="+mn-cs"/>
            </a:rPr>
            <a:t>Vision</a:t>
          </a:r>
        </a:p>
      </dsp:txBody>
      <dsp:txXfrm>
        <a:off x="59991" y="61435"/>
        <a:ext cx="2633254" cy="1108946"/>
      </dsp:txXfrm>
    </dsp:sp>
    <dsp:sp modelId="{11E1B320-8A9B-4BD7-84B0-5BC79F28422E}">
      <dsp:nvSpPr>
        <dsp:cNvPr id="0" name=""/>
        <dsp:cNvSpPr/>
      </dsp:nvSpPr>
      <dsp:spPr>
        <a:xfrm rot="5400000">
          <a:off x="4700232" y="-461289"/>
          <a:ext cx="1000651" cy="4894643"/>
        </a:xfrm>
        <a:prstGeom prst="round2SameRect">
          <a:avLst/>
        </a:prstGeom>
        <a:solidFill>
          <a:schemeClr val="bg2">
            <a:lumMod val="85000"/>
            <a:alpha val="90000"/>
          </a:schemeClr>
        </a:solidFill>
        <a:ln w="12700" cap="flat" cmpd="sng" algn="ctr">
          <a:solidFill>
            <a:srgbClr val="0085D5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45720" lvl="1" indent="0" algn="l" defTabSz="533400">
            <a:lnSpc>
              <a:spcPct val="100000"/>
            </a:lnSpc>
            <a:spcBef>
              <a:spcPct val="0"/>
            </a:spcBef>
            <a:spcAft>
              <a:spcPct val="15000"/>
            </a:spcAft>
            <a:buClrTx/>
            <a:buSzTx/>
            <a:buFontTx/>
            <a:buNone/>
          </a:pPr>
          <a:r>
            <a:rPr lang="en-US" sz="1200" b="0" i="0" kern="1200" dirty="0">
              <a:solidFill>
                <a:srgbClr val="3E4043"/>
              </a:solidFill>
              <a:effectLst/>
              <a:latin typeface="Arial"/>
              <a:ea typeface="+mn-ea"/>
              <a:cs typeface="+mn-cs"/>
            </a:rPr>
            <a:t>Establish Data Strategy &amp; Data Governance end to end by playing a more active stakeholder role in improving </a:t>
          </a:r>
          <a:r>
            <a:rPr lang="en-US" sz="1200" b="1" i="0" kern="1200" dirty="0">
              <a:solidFill>
                <a:srgbClr val="3E4043"/>
              </a:solidFill>
              <a:effectLst/>
              <a:latin typeface="Arial"/>
              <a:ea typeface="+mn-ea"/>
              <a:cs typeface="+mn-cs"/>
            </a:rPr>
            <a:t>quality</a:t>
          </a:r>
          <a:r>
            <a:rPr lang="en-US" sz="1200" b="0" i="0" kern="1200" dirty="0">
              <a:solidFill>
                <a:srgbClr val="3E4043"/>
              </a:solidFill>
              <a:effectLst/>
              <a:latin typeface="Arial"/>
              <a:ea typeface="+mn-ea"/>
              <a:cs typeface="+mn-cs"/>
            </a:rPr>
            <a:t>, </a:t>
          </a:r>
          <a:r>
            <a:rPr lang="en-US" sz="1200" b="1" i="0" kern="1200" dirty="0">
              <a:solidFill>
                <a:srgbClr val="3E4043"/>
              </a:solidFill>
              <a:effectLst/>
              <a:latin typeface="Arial"/>
              <a:ea typeface="+mn-ea"/>
              <a:cs typeface="+mn-cs"/>
            </a:rPr>
            <a:t>efficiency</a:t>
          </a:r>
          <a:r>
            <a:rPr lang="en-US" sz="1200" b="0" i="0" kern="1200" dirty="0">
              <a:solidFill>
                <a:srgbClr val="3E4043"/>
              </a:solidFill>
              <a:effectLst/>
              <a:latin typeface="Arial"/>
              <a:ea typeface="+mn-ea"/>
              <a:cs typeface="+mn-cs"/>
            </a:rPr>
            <a:t> and </a:t>
          </a:r>
          <a:r>
            <a:rPr lang="en-US" sz="1200" b="1" i="0" kern="1200" dirty="0">
              <a:solidFill>
                <a:srgbClr val="3E4043"/>
              </a:solidFill>
              <a:effectLst/>
              <a:latin typeface="Arial"/>
              <a:ea typeface="+mn-ea"/>
              <a:cs typeface="+mn-cs"/>
            </a:rPr>
            <a:t>value</a:t>
          </a:r>
          <a:r>
            <a:rPr lang="en-US" sz="1200" b="0" i="0" kern="1200" dirty="0">
              <a:solidFill>
                <a:srgbClr val="3E4043"/>
              </a:solidFill>
              <a:effectLst/>
              <a:latin typeface="Arial"/>
              <a:ea typeface="+mn-ea"/>
              <a:cs typeface="+mn-cs"/>
            </a:rPr>
            <a:t> in how data is used within [Insert Company Name], driving digital transformation and enabling the [Insert Data Project Name or Line of Business].</a:t>
          </a:r>
          <a:endParaRPr lang="en-US" sz="1200" kern="1200" dirty="0">
            <a:solidFill>
              <a:srgbClr val="53565A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sp:txBody>
      <dsp:txXfrm rot="-5400000">
        <a:off x="2753236" y="1534555"/>
        <a:ext cx="4845795" cy="902955"/>
      </dsp:txXfrm>
    </dsp:sp>
    <dsp:sp modelId="{BB7DF7F9-7596-4C20-AACC-50DD52AB1D1C}">
      <dsp:nvSpPr>
        <dsp:cNvPr id="0" name=""/>
        <dsp:cNvSpPr/>
      </dsp:nvSpPr>
      <dsp:spPr>
        <a:xfrm>
          <a:off x="0" y="1371568"/>
          <a:ext cx="2753236" cy="1228928"/>
        </a:xfrm>
        <a:prstGeom prst="roundRect">
          <a:avLst/>
        </a:prstGeom>
        <a:solidFill>
          <a:schemeClr val="tx1">
            <a:lumMod val="50000"/>
            <a:lumOff val="50000"/>
          </a:scheme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solidFill>
                <a:schemeClr val="accent5"/>
              </a:solidFill>
              <a:latin typeface="Arial"/>
              <a:ea typeface="+mn-ea"/>
              <a:cs typeface="+mn-cs"/>
            </a:rPr>
            <a:t>Mission</a:t>
          </a:r>
        </a:p>
      </dsp:txBody>
      <dsp:txXfrm>
        <a:off x="59991" y="1431559"/>
        <a:ext cx="2633254" cy="1108946"/>
      </dsp:txXfrm>
    </dsp:sp>
    <dsp:sp modelId="{9E6B84C7-3806-4603-930E-17A29469E5BA}">
      <dsp:nvSpPr>
        <dsp:cNvPr id="0" name=""/>
        <dsp:cNvSpPr/>
      </dsp:nvSpPr>
      <dsp:spPr>
        <a:xfrm rot="5400000">
          <a:off x="4700232" y="908834"/>
          <a:ext cx="1000651" cy="4894643"/>
        </a:xfrm>
        <a:prstGeom prst="round2SameRect">
          <a:avLst/>
        </a:prstGeom>
        <a:solidFill>
          <a:schemeClr val="bg2">
            <a:lumMod val="85000"/>
            <a:alpha val="90000"/>
          </a:schemeClr>
        </a:solidFill>
        <a:ln w="12700" cap="flat" cmpd="sng" algn="ctr">
          <a:solidFill>
            <a:srgbClr val="0085D5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lrTx/>
            <a:buSzTx/>
            <a:buFont typeface="Arial" panose="020B0604020202020204" pitchFamily="34" charset="0"/>
            <a:buNone/>
          </a:pPr>
          <a:r>
            <a:rPr lang="en-US" sz="1200" kern="1200" dirty="0">
              <a:solidFill>
                <a:srgbClr val="53565A"/>
              </a:solidFill>
              <a:effectLst/>
              <a:latin typeface="Arial"/>
              <a:ea typeface="+mn-ea"/>
              <a:cs typeface="+mn-cs"/>
            </a:rPr>
            <a:t>Create a </a:t>
          </a:r>
          <a:r>
            <a:rPr lang="en-US" sz="1200" b="1" kern="1200" dirty="0">
              <a:solidFill>
                <a:srgbClr val="53565A"/>
              </a:solidFill>
              <a:effectLst/>
              <a:latin typeface="Arial"/>
              <a:ea typeface="+mn-ea"/>
              <a:cs typeface="+mn-cs"/>
            </a:rPr>
            <a:t>standard approach to data </a:t>
          </a:r>
          <a:r>
            <a:rPr lang="en-US" sz="1200" b="1" kern="1200" dirty="0">
              <a:solidFill>
                <a:srgbClr val="53565A"/>
              </a:solidFill>
              <a:latin typeface="Arial"/>
              <a:ea typeface="+mn-ea"/>
              <a:cs typeface="+mn-cs"/>
            </a:rPr>
            <a:t>quality </a:t>
          </a:r>
          <a:r>
            <a:rPr lang="en-US" sz="1200" kern="1200" dirty="0">
              <a:solidFill>
                <a:srgbClr val="53565A"/>
              </a:solidFill>
              <a:latin typeface="Arial"/>
              <a:ea typeface="+mn-ea"/>
              <a:cs typeface="+mn-cs"/>
            </a:rPr>
            <a:t>that fosters a </a:t>
          </a:r>
          <a:r>
            <a:rPr lang="en-US" sz="1200" b="1" kern="1200" dirty="0">
              <a:solidFill>
                <a:srgbClr val="53565A"/>
              </a:solidFill>
              <a:effectLst/>
              <a:latin typeface="Arial"/>
              <a:ea typeface="+mn-ea"/>
              <a:cs typeface="+mn-cs"/>
            </a:rPr>
            <a:t>data-driven culture. </a:t>
          </a:r>
          <a:r>
            <a:rPr lang="en-US" sz="1200" kern="1200" dirty="0">
              <a:solidFill>
                <a:srgbClr val="53565A"/>
              </a:solidFill>
              <a:effectLst/>
              <a:latin typeface="Arial"/>
              <a:ea typeface="+mn-ea"/>
              <a:cs typeface="+mn-cs"/>
            </a:rPr>
            <a:t>Provide clear policies, practices, and standards to ensure data is accessible, secure, understood, high quality, and trusted​.</a:t>
          </a:r>
          <a:endParaRPr lang="en-US" sz="1200" kern="1200" dirty="0">
            <a:solidFill>
              <a:srgbClr val="53565A"/>
            </a:solidFill>
            <a:latin typeface="Arial"/>
            <a:ea typeface="+mn-ea"/>
            <a:cs typeface="+mn-cs"/>
          </a:endParaRPr>
        </a:p>
      </dsp:txBody>
      <dsp:txXfrm rot="-5400000">
        <a:off x="2753236" y="2904678"/>
        <a:ext cx="4845795" cy="902955"/>
      </dsp:txXfrm>
    </dsp:sp>
    <dsp:sp modelId="{20FE594C-3971-4E6B-BDF9-8DA3B7DC3934}">
      <dsp:nvSpPr>
        <dsp:cNvPr id="0" name=""/>
        <dsp:cNvSpPr/>
      </dsp:nvSpPr>
      <dsp:spPr>
        <a:xfrm>
          <a:off x="0" y="2741691"/>
          <a:ext cx="2753236" cy="1228928"/>
        </a:xfrm>
        <a:prstGeom prst="roundRect">
          <a:avLst/>
        </a:prstGeom>
        <a:solidFill>
          <a:schemeClr val="accent6"/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solidFill>
                <a:schemeClr val="accent5"/>
              </a:solidFill>
              <a:latin typeface="Arial"/>
              <a:ea typeface="+mn-ea"/>
              <a:cs typeface="+mn-cs"/>
            </a:rPr>
            <a:t>Goal</a:t>
          </a:r>
        </a:p>
      </dsp:txBody>
      <dsp:txXfrm>
        <a:off x="59991" y="2801682"/>
        <a:ext cx="2633254" cy="110894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16E113-E953-8C4D-999E-7707DCE412EF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D5F8D2-C06B-F142-958F-DB6F983CFB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436818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6152A0-843A-8846-BF23-ABE70335AF7C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9699D63-6D8C-4943-AD1E-44B6A6B3262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238441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71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143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216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285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356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429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500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572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4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4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4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4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4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4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4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4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4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F19DE8-5450-6CD1-5952-EA95221C6C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5DDA93D-11F0-A67D-7FC1-EFC83108C2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D71516-2FBB-0E28-F104-E730D6334B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569F4E-218B-A2F9-D5A2-08862017D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770D22-232B-9CAF-024E-FA3CA75E44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872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D4E52-5F46-6608-2268-E6FF051C94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F7772D7-7812-66EB-1E23-EF9804536D3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CE98D4A-AA98-8C4A-733F-6AC08CDD56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C3B591-34C0-B09B-9222-4A063E4FAF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A03F1F-212B-1B16-F692-11E3FB975E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76220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B5F486E-DB19-F76D-5226-7F6A21BF94C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A9CB29-60E5-F77B-5C00-CBCBB558FD6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91084C-D460-BAB9-1362-96E3A67FD3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0433A5-68A0-F52F-DE69-AAB1697C1F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77C1CA-80B9-4800-EB63-77C3E43C29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31232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ilent 16:9 Tit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B662F66-A4D2-472E-AB03-9F3EE519E8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1153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B662F66-A4D2-472E-AB03-9F3EE519E8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/>
          <p:cNvSpPr/>
          <p:nvPr userDrawn="1"/>
        </p:nvSpPr>
        <p:spPr>
          <a:xfrm>
            <a:off x="5483504" y="-1"/>
            <a:ext cx="292388" cy="687294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-1" y="-1"/>
            <a:ext cx="5483505" cy="68729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5775892" y="-1"/>
            <a:ext cx="626402" cy="6872941"/>
          </a:xfrm>
          <a:prstGeom prst="rect">
            <a:avLst/>
          </a:prstGeom>
          <a:solidFill>
            <a:srgbClr val="0042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6402294" y="-2"/>
            <a:ext cx="3661784" cy="6874984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76104" y="329302"/>
            <a:ext cx="4715611" cy="2066357"/>
          </a:xfrm>
        </p:spPr>
        <p:txBody>
          <a:bodyPr vert="horz" lIns="0" tIns="0" rIns="0" bIns="0" anchor="b" anchorCtr="0">
            <a:normAutofit/>
          </a:bodyPr>
          <a:lstStyle>
            <a:lvl1pPr algn="l" rtl="0">
              <a:defRPr sz="28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 bwMode="white">
          <a:xfrm>
            <a:off x="476104" y="4115770"/>
            <a:ext cx="4715611" cy="1137771"/>
          </a:xfrm>
        </p:spPr>
        <p:txBody>
          <a:bodyPr lIns="0" tIns="0" rIns="0" bIns="0" anchor="t" anchorCtr="0">
            <a:normAutofit/>
          </a:bodyPr>
          <a:lstStyle>
            <a:lvl1pPr marL="0" indent="0" algn="l" rtl="0">
              <a:spcBef>
                <a:spcPts val="300"/>
              </a:spcBef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295365"/>
            <a:ext cx="2560320" cy="457200"/>
          </a:xfrm>
        </p:spPr>
        <p:txBody>
          <a:bodyPr anchor="b"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6250" y="2612108"/>
            <a:ext cx="4715487" cy="811212"/>
          </a:xfrm>
        </p:spPr>
        <p:txBody>
          <a:bodyPr/>
          <a:lstStyle>
            <a:lvl1pPr rtl="0">
              <a:lnSpc>
                <a:spcPct val="90000"/>
              </a:lnSpc>
              <a:spcBef>
                <a:spcPts val="800"/>
              </a:spcBef>
              <a:defRPr baseline="0">
                <a:solidFill>
                  <a:schemeClr val="bg2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0" indent="0">
              <a:buNone/>
              <a:defRPr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2pPr>
            <a:lvl3pPr>
              <a:defRPr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3pPr>
            <a:lvl4pPr>
              <a:defRPr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4pPr>
            <a:lvl5pPr>
              <a:defRPr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0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grpSp>
        <p:nvGrpSpPr>
          <p:cNvPr id="5" name="Group 4"/>
          <p:cNvGrpSpPr/>
          <p:nvPr userDrawn="1"/>
        </p:nvGrpSpPr>
        <p:grpSpPr>
          <a:xfrm>
            <a:off x="10064080" y="-1"/>
            <a:ext cx="2136888" cy="6872941"/>
            <a:chOff x="10064080" y="-1"/>
            <a:chExt cx="2136888" cy="6872941"/>
          </a:xfrm>
        </p:grpSpPr>
        <p:sp>
          <p:nvSpPr>
            <p:cNvPr id="9" name="Rectangle 8"/>
            <p:cNvSpPr/>
            <p:nvPr userDrawn="1"/>
          </p:nvSpPr>
          <p:spPr>
            <a:xfrm>
              <a:off x="10064080" y="-1"/>
              <a:ext cx="2127920" cy="687294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dirty="0">
                <a:latin typeface="Arial" panose="020B0604020202020204" pitchFamily="34" charset="0"/>
              </a:endParaRPr>
            </a:p>
          </p:txBody>
        </p:sp>
        <p:pic>
          <p:nvPicPr>
            <p:cNvPr id="3" name="Picture 2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67544" y="283"/>
              <a:ext cx="2133424" cy="68574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622038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ilent 16:9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05AD731-36DA-4C9A-BA64-24DBA6F734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2360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05AD731-36DA-4C9A-BA64-24DBA6F734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/>
          <p:cNvSpPr/>
          <p:nvPr userDrawn="1"/>
        </p:nvSpPr>
        <p:spPr>
          <a:xfrm>
            <a:off x="-1" y="-1"/>
            <a:ext cx="7918825" cy="68729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7918824" y="-1"/>
            <a:ext cx="621169" cy="687294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8539992" y="-1"/>
            <a:ext cx="1524087" cy="687294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76103" y="667267"/>
            <a:ext cx="7143939" cy="1728392"/>
          </a:xfrm>
        </p:spPr>
        <p:txBody>
          <a:bodyPr vert="horz" lIns="0" tIns="0" rIns="0" bIns="0" anchor="b" anchorCtr="0">
            <a:normAutofit/>
          </a:bodyPr>
          <a:lstStyle>
            <a:lvl1pPr algn="l" rtl="0">
              <a:defRPr sz="28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476103" y="4115770"/>
            <a:ext cx="7143939" cy="1137771"/>
          </a:xfrm>
        </p:spPr>
        <p:txBody>
          <a:bodyPr lIns="0" tIns="0" rIns="0" bIns="0" anchor="t" anchorCtr="0">
            <a:normAutofit/>
          </a:bodyPr>
          <a:lstStyle>
            <a:lvl1pPr marL="0" indent="0" algn="l" rtl="0">
              <a:spcBef>
                <a:spcPts val="300"/>
              </a:spcBef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49377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476249" y="2612108"/>
            <a:ext cx="7143751" cy="811212"/>
          </a:xfrm>
        </p:spPr>
        <p:txBody>
          <a:bodyPr/>
          <a:lstStyle>
            <a:lvl1pPr rtl="0">
              <a:spcBef>
                <a:spcPts val="800"/>
              </a:spcBef>
              <a:defRPr>
                <a:solidFill>
                  <a:schemeClr val="bg2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0" indent="0">
              <a:buNone/>
              <a:defRPr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2pPr>
            <a:lvl3pPr>
              <a:defRPr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3pPr>
            <a:lvl4pPr>
              <a:defRPr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4pPr>
            <a:lvl5pPr>
              <a:defRPr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10064080" y="-1"/>
            <a:ext cx="2136888" cy="6872941"/>
            <a:chOff x="10064080" y="-1"/>
            <a:chExt cx="2136888" cy="6872941"/>
          </a:xfrm>
        </p:grpSpPr>
        <p:sp>
          <p:nvSpPr>
            <p:cNvPr id="13" name="Rectangle 12"/>
            <p:cNvSpPr/>
            <p:nvPr userDrawn="1"/>
          </p:nvSpPr>
          <p:spPr>
            <a:xfrm>
              <a:off x="10064080" y="-1"/>
              <a:ext cx="2127920" cy="687294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dirty="0">
                <a:latin typeface="Arial" panose="020B0604020202020204" pitchFamily="34" charset="0"/>
              </a:endParaRPr>
            </a:p>
          </p:txBody>
        </p:sp>
        <p:pic>
          <p:nvPicPr>
            <p:cNvPr id="9" name="Picture 8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67544" y="283"/>
              <a:ext cx="2133424" cy="68574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456382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249D25-7F33-499A-8909-D97EA673BD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7429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249D25-7F33-499A-8909-D97EA673BD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7"/>
            <a:ext cx="11198597" cy="926767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2919" y="1289304"/>
            <a:ext cx="11198597" cy="4672584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marL="182563" indent="-182563" rtl="0">
              <a:defRPr>
                <a:latin typeface="Arial" panose="020B0604020202020204" pitchFamily="34" charset="0"/>
              </a:defRPr>
            </a:lvl2pPr>
            <a:lvl3pPr marL="457200" indent="-209550" rtl="0">
              <a:defRPr>
                <a:latin typeface="Arial" panose="020B0604020202020204" pitchFamily="34" charset="0"/>
              </a:defRPr>
            </a:lvl3pPr>
            <a:lvl4pPr marL="630238" indent="-168275" rtl="0">
              <a:defRPr>
                <a:latin typeface="Arial" panose="020B0604020202020204" pitchFamily="34" charset="0"/>
              </a:defRPr>
            </a:lvl4pPr>
            <a:lvl5pPr marL="854075" indent="-182563" rtl="0"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6700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530352" cy="118872"/>
          </a:xfrm>
        </p:spPr>
        <p:txBody>
          <a:bodyPr/>
          <a:lstStyle>
            <a:lvl1pPr rtl="0">
              <a:defRPr sz="800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59612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Content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EB7E4BE-1077-4F8B-8A0C-464C4F4A10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05209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EB7E4BE-1077-4F8B-8A0C-464C4F4A10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2920" y="1289304"/>
            <a:ext cx="11198597" cy="4672584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marL="182880" indent="-182880" rtl="0">
              <a:defRPr>
                <a:latin typeface="Arial" panose="020B0604020202020204" pitchFamily="34" charset="0"/>
              </a:defRPr>
            </a:lvl2pPr>
            <a:lvl3pPr marL="457200" indent="-209550" rtl="0">
              <a:defRPr>
                <a:latin typeface="Arial" panose="020B0604020202020204" pitchFamily="34" charset="0"/>
              </a:defRPr>
            </a:lvl3pPr>
            <a:lvl4pPr marL="627063" indent="-166688" rtl="0">
              <a:defRPr>
                <a:latin typeface="Arial" panose="020B0604020202020204" pitchFamily="34" charset="0"/>
              </a:defRPr>
            </a:lvl4pPr>
            <a:lvl5pPr marL="857250" indent="-182563" rtl="0"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6700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530352" cy="118872"/>
          </a:xfrm>
        </p:spPr>
        <p:txBody>
          <a:bodyPr/>
          <a:lstStyle>
            <a:lvl1pPr rtl="0">
              <a:defRPr sz="800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59" name="Text Placeholder 58"/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733133"/>
            <a:ext cx="11198284" cy="390099"/>
          </a:xfrm>
        </p:spPr>
        <p:txBody>
          <a:bodyPr/>
          <a:lstStyle>
            <a:lvl1pPr rtl="0">
              <a:defRPr sz="240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marL="0" indent="0">
              <a:buNone/>
              <a:defRPr>
                <a:solidFill>
                  <a:schemeClr val="accent1"/>
                </a:solidFill>
                <a:latin typeface="Roboto" pitchFamily="2" charset="0"/>
                <a:ea typeface="Roboto" pitchFamily="2" charset="0"/>
              </a:defRPr>
            </a:lvl2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8"/>
            <a:ext cx="11198597" cy="484632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25760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EB8496-D55C-46BE-9B85-C9C1D5DC6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3653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EB8496-D55C-46BE-9B85-C9C1D5DC6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6700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530352" cy="118872"/>
          </a:xfrm>
        </p:spPr>
        <p:txBody>
          <a:bodyPr/>
          <a:lstStyle>
            <a:lvl1pPr rtl="0">
              <a:defRPr sz="800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8"/>
            <a:ext cx="11198597" cy="923544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751849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Title Sub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F86814A-275F-43D3-A7B9-02C9437DC3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0050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F86814A-275F-43D3-A7B9-02C9437DC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6700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530352" cy="118872"/>
          </a:xfrm>
        </p:spPr>
        <p:txBody>
          <a:bodyPr/>
          <a:lstStyle>
            <a:lvl1pPr rtl="0">
              <a:defRPr sz="800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59" name="Text Placeholder 58"/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722247"/>
            <a:ext cx="11198284" cy="390099"/>
          </a:xfrm>
        </p:spPr>
        <p:txBody>
          <a:bodyPr/>
          <a:lstStyle>
            <a:lvl1pPr rtl="0">
              <a:defRPr sz="240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rtl="0">
              <a:defRPr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2pPr>
          </a:lstStyle>
          <a:p>
            <a:pPr lvl="0"/>
            <a:r>
              <a:rPr lang="en-US"/>
              <a:t>Subhead goes here</a:t>
            </a:r>
          </a:p>
          <a:p>
            <a:pPr lvl="1"/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8"/>
            <a:ext cx="11198597" cy="484632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95153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E8BB4E7-2998-4187-B675-6E0E0873E5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3392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E8BB4E7-2998-4187-B675-6E0E0873E5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6700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530352" cy="118872"/>
          </a:xfrm>
        </p:spPr>
        <p:txBody>
          <a:bodyPr/>
          <a:lstStyle>
            <a:lvl1pPr rtl="0">
              <a:defRPr sz="800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2858611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ilent 16:9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5183C2C-F97C-4C99-A3CE-A4022D1A49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9165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5183C2C-F97C-4C99-A3CE-A4022D1A49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/>
        </p:nvSpPr>
        <p:spPr>
          <a:xfrm>
            <a:off x="3658171" y="2752035"/>
            <a:ext cx="304797" cy="3733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862820" y="2752035"/>
            <a:ext cx="7024380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-2" y="2752035"/>
            <a:ext cx="3663924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5098" y="386498"/>
            <a:ext cx="11198901" cy="1362075"/>
          </a:xfrm>
        </p:spPr>
        <p:txBody>
          <a:bodyPr vert="horz" anchor="b" anchorCtr="0">
            <a:noAutofit/>
          </a:bodyPr>
          <a:lstStyle>
            <a:lvl1pPr rtl="0">
              <a:defRPr sz="2800" b="0" cap="none" baseline="0">
                <a:solidFill>
                  <a:schemeClr val="accent1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5098" y="1748574"/>
            <a:ext cx="11198901" cy="861496"/>
          </a:xfrm>
        </p:spPr>
        <p:txBody>
          <a:bodyPr>
            <a:normAutofit/>
          </a:bodyPr>
          <a:lstStyle>
            <a:lvl1pPr marL="0" indent="0" rtl="0">
              <a:buNone/>
              <a:defRPr sz="2600">
                <a:solidFill>
                  <a:schemeClr val="tx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5212080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9" name="Rectangle 18"/>
          <p:cNvSpPr/>
          <p:nvPr/>
        </p:nvSpPr>
        <p:spPr>
          <a:xfrm>
            <a:off x="11887199" y="2752035"/>
            <a:ext cx="304799" cy="3733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3962969" y="2752035"/>
            <a:ext cx="899851" cy="37334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0" name="AutoShape 3"/>
          <p:cNvSpPr>
            <a:spLocks noChangeAspect="1" noChangeArrowheads="1" noTextEdit="1"/>
          </p:cNvSpPr>
          <p:nvPr/>
        </p:nvSpPr>
        <p:spPr bwMode="auto">
          <a:xfrm>
            <a:off x="7498971" y="532271"/>
            <a:ext cx="2171700" cy="909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11887199" y="2752035"/>
            <a:ext cx="304799" cy="3733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6494482"/>
            <a:ext cx="12304527" cy="374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35032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BF1A84-66D0-9E39-E935-E155B0ADD8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DFA7F3-75CE-6603-9DF0-682664F541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0FBE14-5022-2C46-0AC1-61A23B9828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FD42AC-9129-884B-0361-69AA5768B6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975221-5335-D866-87FC-E268F5D66A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53431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ilent 16:9 Divider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8C9CFF8-B535-4E4A-8271-8756C857E8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3436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8C9CFF8-B535-4E4A-8271-8756C857E8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/>
          <p:cNvSpPr/>
          <p:nvPr/>
        </p:nvSpPr>
        <p:spPr>
          <a:xfrm>
            <a:off x="3658171" y="2752035"/>
            <a:ext cx="304797" cy="3733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862819" y="2752035"/>
            <a:ext cx="7024379" cy="3733460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1" name="Rectangle 20"/>
          <p:cNvSpPr/>
          <p:nvPr/>
        </p:nvSpPr>
        <p:spPr>
          <a:xfrm>
            <a:off x="-2" y="2752035"/>
            <a:ext cx="3663924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1887199" y="2752035"/>
            <a:ext cx="304799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962969" y="2752035"/>
            <a:ext cx="899851" cy="37334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85098" y="386498"/>
            <a:ext cx="11198901" cy="1362075"/>
          </a:xfrm>
        </p:spPr>
        <p:txBody>
          <a:bodyPr vert="horz" anchor="b" anchorCtr="0">
            <a:noAutofit/>
          </a:bodyPr>
          <a:lstStyle>
            <a:lvl1pPr rtl="0">
              <a:defRPr sz="2800" b="0" cap="none" baseline="0">
                <a:solidFill>
                  <a:schemeClr val="accent1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485098" y="1748573"/>
            <a:ext cx="11198901" cy="861496"/>
          </a:xfrm>
        </p:spPr>
        <p:txBody>
          <a:bodyPr>
            <a:normAutofit/>
          </a:bodyPr>
          <a:lstStyle>
            <a:lvl1pPr marL="0" indent="0" rtl="0">
              <a:buNone/>
              <a:defRPr sz="2600">
                <a:solidFill>
                  <a:schemeClr val="tx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5212080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6494483"/>
            <a:ext cx="12190476" cy="37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6729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ilent 16:9 Divider 2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B197A7C-4552-47A7-817E-BCDF278AB1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6126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B197A7C-4552-47A7-817E-BCDF278AB1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-1" y="2752035"/>
            <a:ext cx="3663924" cy="3733460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5098" y="386498"/>
            <a:ext cx="11198901" cy="1362075"/>
          </a:xfrm>
        </p:spPr>
        <p:txBody>
          <a:bodyPr vert="horz" anchor="b" anchorCtr="0">
            <a:noAutofit/>
          </a:bodyPr>
          <a:lstStyle>
            <a:lvl1pPr rtl="0">
              <a:defRPr sz="2800" b="0" cap="none" baseline="0">
                <a:solidFill>
                  <a:schemeClr val="accent1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5098" y="1748573"/>
            <a:ext cx="11198901" cy="861496"/>
          </a:xfrm>
        </p:spPr>
        <p:txBody>
          <a:bodyPr>
            <a:normAutofit/>
          </a:bodyPr>
          <a:lstStyle>
            <a:lvl1pPr marL="0" indent="0" rtl="0">
              <a:buNone/>
              <a:defRPr sz="2600">
                <a:solidFill>
                  <a:schemeClr val="tx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5212080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862819" y="2752035"/>
            <a:ext cx="7024379" cy="3733460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4" name="Rectangle 23"/>
          <p:cNvSpPr/>
          <p:nvPr/>
        </p:nvSpPr>
        <p:spPr>
          <a:xfrm>
            <a:off x="11887199" y="2752035"/>
            <a:ext cx="304799" cy="3733460"/>
          </a:xfrm>
          <a:prstGeom prst="rect">
            <a:avLst/>
          </a:prstGeom>
          <a:solidFill>
            <a:srgbClr val="0085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962969" y="2752035"/>
            <a:ext cx="899851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3658171" y="2752035"/>
            <a:ext cx="304797" cy="3733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6494483"/>
            <a:ext cx="12190476" cy="37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68548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ilent 16:9 Divider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8AE77A2-AAB6-4BC0-8A34-B5FCAA2969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8257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8AE77A2-AAB6-4BC0-8A34-B5FCAA2969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/>
        </p:nvSpPr>
        <p:spPr>
          <a:xfrm>
            <a:off x="8540409" y="2752035"/>
            <a:ext cx="603503" cy="3733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0668000" y="2752035"/>
            <a:ext cx="1524000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00347" y="2752035"/>
            <a:ext cx="8240061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5098" y="386498"/>
            <a:ext cx="11198901" cy="1362075"/>
          </a:xfrm>
        </p:spPr>
        <p:txBody>
          <a:bodyPr vert="horz" anchor="b" anchorCtr="0">
            <a:noAutofit/>
          </a:bodyPr>
          <a:lstStyle>
            <a:lvl1pPr rtl="0">
              <a:defRPr sz="2800" b="0" cap="none" baseline="0">
                <a:solidFill>
                  <a:schemeClr val="accent1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5098" y="1748574"/>
            <a:ext cx="11198901" cy="861496"/>
          </a:xfrm>
        </p:spPr>
        <p:txBody>
          <a:bodyPr>
            <a:normAutofit/>
          </a:bodyPr>
          <a:lstStyle>
            <a:lvl1pPr marL="0" indent="0" rtl="0">
              <a:buNone/>
              <a:defRPr sz="2600">
                <a:solidFill>
                  <a:schemeClr val="tx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5212080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20" name="Rectangle 19"/>
          <p:cNvSpPr/>
          <p:nvPr/>
        </p:nvSpPr>
        <p:spPr>
          <a:xfrm>
            <a:off x="9143913" y="2752035"/>
            <a:ext cx="1524087" cy="37334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-2" y="2752035"/>
            <a:ext cx="300349" cy="3733460"/>
          </a:xfrm>
          <a:prstGeom prst="rect">
            <a:avLst/>
          </a:prstGeom>
          <a:solidFill>
            <a:srgbClr val="00A9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6494483"/>
            <a:ext cx="12190476" cy="37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01305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ilent 16:9 Divider Al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9EDC6F-D2D7-464F-9A3C-8238CDD481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9457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9EDC6F-D2D7-464F-9A3C-8238CDD481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/>
          <p:nvPr/>
        </p:nvSpPr>
        <p:spPr>
          <a:xfrm>
            <a:off x="8540409" y="2752035"/>
            <a:ext cx="603503" cy="3733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00347" y="2752035"/>
            <a:ext cx="8240061" cy="3733460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85098" y="386498"/>
            <a:ext cx="11198901" cy="1362075"/>
          </a:xfrm>
        </p:spPr>
        <p:txBody>
          <a:bodyPr vert="horz" anchor="b" anchorCtr="0">
            <a:noAutofit/>
          </a:bodyPr>
          <a:lstStyle>
            <a:lvl1pPr rtl="0">
              <a:defRPr sz="2800" b="0" cap="none" baseline="0">
                <a:solidFill>
                  <a:schemeClr val="accent1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"/>
          </p:nvPr>
        </p:nvSpPr>
        <p:spPr>
          <a:xfrm>
            <a:off x="485098" y="1748574"/>
            <a:ext cx="11198901" cy="861496"/>
          </a:xfrm>
        </p:spPr>
        <p:txBody>
          <a:bodyPr>
            <a:normAutofit/>
          </a:bodyPr>
          <a:lstStyle>
            <a:lvl1pPr marL="0" indent="0" rtl="0">
              <a:buNone/>
              <a:defRPr sz="2600">
                <a:solidFill>
                  <a:schemeClr val="tx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5212080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23" name="Rectangle 22"/>
          <p:cNvSpPr/>
          <p:nvPr/>
        </p:nvSpPr>
        <p:spPr>
          <a:xfrm>
            <a:off x="10668000" y="2752035"/>
            <a:ext cx="1524000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9143913" y="2752035"/>
            <a:ext cx="1524087" cy="37334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-2" y="2752035"/>
            <a:ext cx="300349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6494483"/>
            <a:ext cx="12190476" cy="37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17029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2-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6862E82-2BA4-4C5C-8A92-DD5BF48823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8692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6862E82-2BA4-4C5C-8A92-DD5BF48823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2920" y="1287522"/>
            <a:ext cx="5493389" cy="4887306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marL="457200" indent="-230188"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9861" y="1287522"/>
            <a:ext cx="5491655" cy="4887306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7"/>
            <a:ext cx="11198597" cy="926767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383774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ilent 16:9 2-Col Lef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6862E82-2BA4-4C5C-8A92-DD5BF48823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8692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6862E82-2BA4-4C5C-8A92-DD5BF48823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2920" y="1287522"/>
            <a:ext cx="5493389" cy="4887306"/>
          </a:xfrm>
        </p:spPr>
        <p:txBody>
          <a:bodyPr>
            <a:noAutofit/>
          </a:bodyPr>
          <a:lstStyle>
            <a:lvl1pPr rtl="0">
              <a:defRPr sz="1400">
                <a:latin typeface="Arial" panose="020B0604020202020204" pitchFamily="34" charset="0"/>
              </a:defRPr>
            </a:lvl1pPr>
            <a:lvl2pPr marL="458788" indent="-225425" rtl="0">
              <a:buFont typeface="System Font Regular"/>
              <a:buChar char="–"/>
              <a:tabLst/>
              <a:defRPr sz="1200">
                <a:latin typeface="Arial" panose="020B0604020202020204" pitchFamily="34" charset="0"/>
              </a:defRPr>
            </a:lvl2pPr>
            <a:lvl3pPr marL="635000" indent="-176213" rtl="0">
              <a:buFont typeface="Arial" panose="020B0604020202020204" pitchFamily="34" charset="0"/>
              <a:buChar char="•"/>
              <a:tabLst/>
              <a:defRPr sz="1200">
                <a:latin typeface="Arial" panose="020B0604020202020204" pitchFamily="34" charset="0"/>
              </a:defRPr>
            </a:lvl3pPr>
            <a:lvl4pPr marL="858838" indent="-166688" rtl="0">
              <a:buFont typeface="System Font Regular"/>
              <a:buChar char="–"/>
              <a:tabLst/>
              <a:defRPr sz="1200">
                <a:latin typeface="Arial" panose="020B0604020202020204" pitchFamily="34" charset="0"/>
              </a:defRPr>
            </a:lvl4pPr>
            <a:lvl5pPr rtl="0">
              <a:defRPr sz="110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7"/>
            <a:ext cx="11198597" cy="926767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693080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2-Col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4BB4876-1A88-4F80-A769-86A0F4A251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7108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4BB4876-1A88-4F80-A769-86A0F4A251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2920" y="1287522"/>
            <a:ext cx="5493389" cy="4887306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marL="457200" indent="-230188"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9861" y="1287522"/>
            <a:ext cx="5491655" cy="4887306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7"/>
            <a:ext cx="11198597" cy="484632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58"/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733133"/>
            <a:ext cx="11198284" cy="390099"/>
          </a:xfrm>
        </p:spPr>
        <p:txBody>
          <a:bodyPr/>
          <a:lstStyle>
            <a:lvl1pPr rtl="0">
              <a:defRPr sz="240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marL="0" indent="0">
              <a:buNone/>
              <a:defRPr>
                <a:solidFill>
                  <a:schemeClr val="accent1"/>
                </a:solidFill>
                <a:latin typeface="Roboto" pitchFamily="2" charset="0"/>
                <a:ea typeface="Roboto" pitchFamily="2" charset="0"/>
              </a:defRPr>
            </a:lvl2pPr>
          </a:lstStyle>
          <a:p>
            <a:pPr lvl="0"/>
            <a:r>
              <a:rPr lang="en-US"/>
              <a:t>Subhead goes here</a:t>
            </a:r>
          </a:p>
        </p:txBody>
      </p:sp>
    </p:spTree>
    <p:extLst>
      <p:ext uri="{BB962C8B-B14F-4D97-AF65-F5344CB8AC3E}">
        <p14:creationId xmlns:p14="http://schemas.microsoft.com/office/powerpoint/2010/main" val="12228858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2-Col +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F76DA3-0AB6-425A-9A4A-DE63CB1CA2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438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F76DA3-0AB6-425A-9A4A-DE63CB1CA2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2920" y="1284188"/>
            <a:ext cx="5495544" cy="357695"/>
          </a:xfrm>
        </p:spPr>
        <p:txBody>
          <a:bodyPr anchor="ctr">
            <a:noAutofit/>
          </a:bodyPr>
          <a:lstStyle>
            <a:lvl1pPr marL="0" indent="0" rtl="0">
              <a:buNone/>
              <a:defRPr sz="2200" b="0">
                <a:solidFill>
                  <a:schemeClr val="accent4"/>
                </a:solidFill>
                <a:latin typeface="Arial" panose="020B0604020202020204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09862" y="1284188"/>
            <a:ext cx="5491654" cy="357695"/>
          </a:xfrm>
        </p:spPr>
        <p:txBody>
          <a:bodyPr anchor="ctr">
            <a:noAutofit/>
          </a:bodyPr>
          <a:lstStyle>
            <a:lvl1pPr marL="0" indent="0" rtl="0">
              <a:buNone/>
              <a:defRPr sz="2200" b="0">
                <a:solidFill>
                  <a:schemeClr val="accent4"/>
                </a:solidFill>
                <a:latin typeface="Arial" panose="020B0604020202020204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3"/>
          </p:nvPr>
        </p:nvSpPr>
        <p:spPr>
          <a:xfrm>
            <a:off x="502920" y="1751724"/>
            <a:ext cx="5493389" cy="4423103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marL="457200" indent="-230188"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14"/>
          </p:nvPr>
        </p:nvSpPr>
        <p:spPr>
          <a:xfrm>
            <a:off x="6209861" y="1751724"/>
            <a:ext cx="5491655" cy="4423103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7"/>
            <a:ext cx="11198597" cy="926767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6923556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2-Col Sub +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49B0474-A1EE-4F52-A330-F6CCF229A6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4641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49B0474-A1EE-4F52-A330-F6CCF229A6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2920" y="1284188"/>
            <a:ext cx="5495544" cy="357695"/>
          </a:xfrm>
        </p:spPr>
        <p:txBody>
          <a:bodyPr anchor="ctr">
            <a:noAutofit/>
          </a:bodyPr>
          <a:lstStyle>
            <a:lvl1pPr marL="0" indent="0" rtl="0">
              <a:buNone/>
              <a:defRPr sz="2200" b="0">
                <a:solidFill>
                  <a:schemeClr val="accent4"/>
                </a:solidFill>
                <a:latin typeface="Arial" panose="020B0604020202020204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09862" y="1284188"/>
            <a:ext cx="5491654" cy="357695"/>
          </a:xfrm>
        </p:spPr>
        <p:txBody>
          <a:bodyPr anchor="ctr">
            <a:noAutofit/>
          </a:bodyPr>
          <a:lstStyle>
            <a:lvl1pPr marL="0" indent="0" rtl="0">
              <a:buNone/>
              <a:defRPr sz="2200" b="0">
                <a:solidFill>
                  <a:schemeClr val="accent4"/>
                </a:solidFill>
                <a:latin typeface="Arial" panose="020B0604020202020204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3"/>
          </p:nvPr>
        </p:nvSpPr>
        <p:spPr>
          <a:xfrm>
            <a:off x="502920" y="1751724"/>
            <a:ext cx="5493389" cy="4423103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marL="457200" indent="-230188"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14"/>
          </p:nvPr>
        </p:nvSpPr>
        <p:spPr>
          <a:xfrm>
            <a:off x="6209861" y="1751724"/>
            <a:ext cx="5491655" cy="4423103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7"/>
            <a:ext cx="11198597" cy="484632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58"/>
          <p:cNvSpPr>
            <a:spLocks noGrp="1"/>
          </p:cNvSpPr>
          <p:nvPr>
            <p:ph type="body" sz="quarter" idx="15" hasCustomPrompt="1"/>
          </p:nvPr>
        </p:nvSpPr>
        <p:spPr>
          <a:xfrm>
            <a:off x="503238" y="733133"/>
            <a:ext cx="11198284" cy="390099"/>
          </a:xfrm>
        </p:spPr>
        <p:txBody>
          <a:bodyPr/>
          <a:lstStyle>
            <a:lvl1pPr rtl="0">
              <a:defRPr sz="240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marL="0" indent="0">
              <a:buNone/>
              <a:defRPr>
                <a:solidFill>
                  <a:schemeClr val="accent1"/>
                </a:solidFill>
                <a:latin typeface="Roboto" pitchFamily="2" charset="0"/>
                <a:ea typeface="Roboto" pitchFamily="2" charset="0"/>
              </a:defRPr>
            </a:lvl2pPr>
          </a:lstStyle>
          <a:p>
            <a:pPr lvl="0"/>
            <a:r>
              <a:rPr lang="en-US"/>
              <a:t>Subhead goes here</a:t>
            </a:r>
          </a:p>
        </p:txBody>
      </p:sp>
    </p:spTree>
    <p:extLst>
      <p:ext uri="{BB962C8B-B14F-4D97-AF65-F5344CB8AC3E}">
        <p14:creationId xmlns:p14="http://schemas.microsoft.com/office/powerpoint/2010/main" val="35068669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2F4A768-9BB6-4607-9F09-B9FD515F2C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9140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2F4A768-9BB6-4607-9F09-B9FD515F2C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8854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438912" cy="118872"/>
          </a:xfrm>
        </p:spPr>
        <p:txBody>
          <a:bodyPr/>
          <a:lstStyle>
            <a:lvl1pPr rtl="0">
              <a:defRPr sz="800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3989507" y="1287522"/>
            <a:ext cx="7712015" cy="4887306"/>
          </a:xfrm>
          <a:solidFill>
            <a:schemeClr val="bg2">
              <a:lumMod val="95000"/>
            </a:schemeClr>
          </a:solidFill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ext Placeholder 58"/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722247"/>
            <a:ext cx="11198284" cy="390099"/>
          </a:xfrm>
        </p:spPr>
        <p:txBody>
          <a:bodyPr/>
          <a:lstStyle>
            <a:lvl1pPr rtl="0">
              <a:defRPr sz="240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rtl="0">
              <a:defRPr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2pPr>
          </a:lstStyle>
          <a:p>
            <a:pPr lvl="0"/>
            <a:r>
              <a:rPr lang="en-US"/>
              <a:t>Subhead goes here</a:t>
            </a:r>
          </a:p>
          <a:p>
            <a:pPr lvl="1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8"/>
            <a:ext cx="11198597" cy="484632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"/>
          </p:nvPr>
        </p:nvSpPr>
        <p:spPr>
          <a:xfrm>
            <a:off x="502920" y="1287522"/>
            <a:ext cx="3342005" cy="4887306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marL="457200" indent="-230188"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889108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E6D73F-228F-63D2-5E04-5A1B8BE87B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3C8DC4-423A-CE74-299B-A291E5D521A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3F2D40-3EF4-E681-7C60-4BA55ADCC0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64D29-5A06-8FC9-8745-E439EF9AC5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7F8701-F793-35A5-0AF1-9CB3F0028D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354609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D5D496C-CE71-4A19-828B-E3D8B76A82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259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D5D496C-CE71-4A19-828B-E3D8B76A82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264" y="5241390"/>
            <a:ext cx="11147360" cy="1159410"/>
          </a:xfrm>
        </p:spPr>
        <p:txBody>
          <a:bodyPr/>
          <a:lstStyle>
            <a:lvl1pPr rtl="0">
              <a:defRPr sz="1900">
                <a:latin typeface="Arial" panose="020B0604020202020204" pitchFamily="34" charset="0"/>
              </a:defRPr>
            </a:lvl1pPr>
            <a:lvl2pPr marL="0" indent="0" rtl="0">
              <a:buNone/>
              <a:defRPr sz="1500">
                <a:latin typeface="Arial" panose="020B0604020202020204" pitchFamily="34" charset="0"/>
              </a:defRPr>
            </a:lvl2pPr>
            <a:lvl3pPr marL="384048" indent="-182880">
              <a:defRPr sz="1500">
                <a:latin typeface="+mn-lt"/>
              </a:defRPr>
            </a:lvl3pPr>
            <a:lvl4pPr marL="548640" indent="-182880">
              <a:defRPr sz="1500">
                <a:latin typeface="+mn-lt"/>
              </a:defRPr>
            </a:lvl4pPr>
            <a:lvl5pPr marL="731520" indent="-182880">
              <a:defRPr sz="13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6700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438912" cy="118872"/>
          </a:xfrm>
        </p:spPr>
        <p:txBody>
          <a:bodyPr/>
          <a:lstStyle>
            <a:lvl1pPr rtl="0">
              <a:defRPr sz="800" b="1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502919" y="1322552"/>
            <a:ext cx="11201400" cy="3824542"/>
          </a:xfrm>
          <a:solidFill>
            <a:schemeClr val="bg2">
              <a:lumMod val="95000"/>
            </a:schemeClr>
          </a:solidFill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ext Placeholder 58"/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722247"/>
            <a:ext cx="11198284" cy="390099"/>
          </a:xfrm>
        </p:spPr>
        <p:txBody>
          <a:bodyPr/>
          <a:lstStyle>
            <a:lvl1pPr rtl="0">
              <a:defRPr sz="240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rtl="0">
              <a:defRPr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2pPr>
          </a:lstStyle>
          <a:p>
            <a:pPr lvl="0"/>
            <a:r>
              <a:rPr lang="en-US"/>
              <a:t>Subhead goes here</a:t>
            </a:r>
          </a:p>
          <a:p>
            <a:pPr lvl="1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8"/>
            <a:ext cx="11198597" cy="484632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222053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844D0F-A20A-402C-8A22-E11723AA48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2214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844D0F-A20A-402C-8A22-E11723AA48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4" y="1368725"/>
            <a:ext cx="12191936" cy="5114351"/>
          </a:xfrm>
          <a:solidFill>
            <a:schemeClr val="bg2">
              <a:lumMod val="95000"/>
            </a:schemeClr>
          </a:solidFill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6700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438912" cy="118872"/>
          </a:xfrm>
        </p:spPr>
        <p:txBody>
          <a:bodyPr/>
          <a:lstStyle>
            <a:lvl1pPr rtl="0">
              <a:defRPr sz="800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ext Placeholder 58"/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722247"/>
            <a:ext cx="11198284" cy="390099"/>
          </a:xfrm>
        </p:spPr>
        <p:txBody>
          <a:bodyPr/>
          <a:lstStyle>
            <a:lvl1pPr rtl="0">
              <a:defRPr sz="240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rtl="0">
              <a:defRPr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2pPr>
          </a:lstStyle>
          <a:p>
            <a:pPr lvl="0"/>
            <a:r>
              <a:rPr lang="en-US"/>
              <a:t>Subhead goes here</a:t>
            </a:r>
          </a:p>
          <a:p>
            <a:pPr lvl="1"/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8"/>
            <a:ext cx="11198597" cy="484632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00988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ilent 16:9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8CAA08C-BA54-4399-867D-3CBCB5BB63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891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8CAA08C-BA54-4399-867D-3CBCB5BB63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/>
          <p:cNvSpPr/>
          <p:nvPr userDrawn="1"/>
        </p:nvSpPr>
        <p:spPr>
          <a:xfrm>
            <a:off x="7918824" y="-1"/>
            <a:ext cx="621169" cy="687294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-1" y="-1"/>
            <a:ext cx="7918825" cy="68729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2000" dirty="0">
              <a:latin typeface="Arial" panose="020B0604020202020204" pitchFamily="34" charset="0"/>
            </a:endParaRPr>
          </a:p>
        </p:txBody>
      </p:sp>
      <p:sp>
        <p:nvSpPr>
          <p:cNvPr id="31" name="Rectangle 30"/>
          <p:cNvSpPr/>
          <p:nvPr userDrawn="1"/>
        </p:nvSpPr>
        <p:spPr>
          <a:xfrm>
            <a:off x="10064080" y="-1"/>
            <a:ext cx="2127920" cy="68729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2" name="Rectangle 31"/>
          <p:cNvSpPr/>
          <p:nvPr userDrawn="1"/>
        </p:nvSpPr>
        <p:spPr>
          <a:xfrm>
            <a:off x="8539992" y="-1"/>
            <a:ext cx="1524087" cy="687294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76103" y="1109600"/>
            <a:ext cx="7143939" cy="3850885"/>
          </a:xfrm>
        </p:spPr>
        <p:txBody>
          <a:bodyPr vert="horz" lIns="0" tIns="0" rIns="0" bIns="0" anchor="t" anchorCtr="0">
            <a:noAutofit/>
          </a:bodyPr>
          <a:lstStyle>
            <a:lvl1pPr algn="l" rtl="0">
              <a:defRPr sz="60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476103" y="5092929"/>
            <a:ext cx="7143939" cy="1137771"/>
          </a:xfrm>
        </p:spPr>
        <p:txBody>
          <a:bodyPr lIns="0" tIns="0" rIns="0" bIns="0" anchor="t" anchorCtr="0">
            <a:normAutofit/>
          </a:bodyPr>
          <a:lstStyle>
            <a:lvl1pPr marL="0" indent="0" algn="l" rtl="0">
              <a:spcBef>
                <a:spcPts val="30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49377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7544" y="283"/>
            <a:ext cx="2133424" cy="6857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26870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ilent 16:9 End w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82582A3-F53A-4359-A8A5-0E2DE02C70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183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82582A3-F53A-4359-A8A5-0E2DE02C70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56097729-5F47-41FD-8C30-7C9F3B4771B4}"/>
              </a:ext>
            </a:extLst>
          </p:cNvPr>
          <p:cNvGrpSpPr/>
          <p:nvPr userDrawn="1"/>
        </p:nvGrpSpPr>
        <p:grpSpPr>
          <a:xfrm>
            <a:off x="1" y="-14941"/>
            <a:ext cx="12191999" cy="6872941"/>
            <a:chOff x="1" y="-14941"/>
            <a:chExt cx="12191999" cy="6872941"/>
          </a:xfrm>
        </p:grpSpPr>
        <p:sp>
          <p:nvSpPr>
            <p:cNvPr id="22" name="Rectangle 21"/>
            <p:cNvSpPr/>
            <p:nvPr userDrawn="1"/>
          </p:nvSpPr>
          <p:spPr>
            <a:xfrm>
              <a:off x="10046744" y="-14941"/>
              <a:ext cx="621169" cy="687294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30" name="Rectangle 29"/>
            <p:cNvSpPr/>
            <p:nvPr userDrawn="1"/>
          </p:nvSpPr>
          <p:spPr>
            <a:xfrm>
              <a:off x="1" y="-14941"/>
              <a:ext cx="10046744" cy="687294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sz="2000" dirty="0">
                <a:latin typeface="Arial" panose="020B0604020202020204" pitchFamily="34" charset="0"/>
              </a:endParaRPr>
            </a:p>
          </p:txBody>
        </p:sp>
        <p:sp>
          <p:nvSpPr>
            <p:cNvPr id="32" name="Rectangle 31"/>
            <p:cNvSpPr/>
            <p:nvPr userDrawn="1"/>
          </p:nvSpPr>
          <p:spPr>
            <a:xfrm>
              <a:off x="10667913" y="-14941"/>
              <a:ext cx="1524087" cy="687294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dirty="0">
                <a:latin typeface="Arial" panose="020B0604020202020204" pitchFamily="34" charset="0"/>
              </a:endParaRPr>
            </a:p>
          </p:txBody>
        </p:sp>
        <p:pic>
          <p:nvPicPr>
            <p:cNvPr id="15" name="Picture 14" descr="A close up of a logo&#10;&#10;Description generated with very high confidence">
              <a:extLst>
                <a:ext uri="{FF2B5EF4-FFF2-40B4-BE49-F238E27FC236}">
                  <a16:creationId xmlns:a16="http://schemas.microsoft.com/office/drawing/2014/main" id="{E751C32A-B6B1-4A85-B1E9-5F99572131E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79686" y="1798546"/>
              <a:ext cx="6087374" cy="2864967"/>
            </a:xfrm>
            <a:prstGeom prst="rect">
              <a:avLst/>
            </a:prstGeom>
          </p:spPr>
        </p:pic>
      </p:grp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49377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7922226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ilent 16:9 Title Sub Only">
  <p:cSld name="1_Agilent 16:9 Title Sub Only"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p23"/>
          <p:cNvSpPr txBox="1">
            <a:spLocks noGrp="1"/>
          </p:cNvSpPr>
          <p:nvPr>
            <p:ph type="body" idx="1"/>
          </p:nvPr>
        </p:nvSpPr>
        <p:spPr>
          <a:xfrm>
            <a:off x="503238" y="722247"/>
            <a:ext cx="9817854" cy="3900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Arial"/>
              <a:buNone/>
              <a:defRPr sz="24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34925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900"/>
              <a:buChar char="•"/>
              <a:defRPr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lvl="2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3pPr>
            <a:lvl4pPr marL="1828800" lvl="3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2" name="Google Shape;182;p23"/>
          <p:cNvSpPr txBox="1">
            <a:spLocks noGrp="1"/>
          </p:cNvSpPr>
          <p:nvPr>
            <p:ph type="title"/>
          </p:nvPr>
        </p:nvSpPr>
        <p:spPr>
          <a:xfrm>
            <a:off x="502920" y="246888"/>
            <a:ext cx="9818128" cy="4846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Arial"/>
              <a:buNone/>
              <a:defRPr sz="2800" b="0" i="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3" name="Google Shape;183;p23"/>
          <p:cNvSpPr txBox="1">
            <a:spLocks noGrp="1"/>
          </p:cNvSpPr>
          <p:nvPr>
            <p:ph type="dt" idx="10"/>
          </p:nvPr>
        </p:nvSpPr>
        <p:spPr>
          <a:xfrm>
            <a:off x="1097280" y="6620256"/>
            <a:ext cx="1060704" cy="1188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/>
              <a:t>16 August 2022</a:t>
            </a:r>
            <a:endParaRPr dirty="0"/>
          </a:p>
        </p:txBody>
      </p:sp>
      <p:sp>
        <p:nvSpPr>
          <p:cNvPr id="184" name="Google Shape;184;p23"/>
          <p:cNvSpPr txBox="1">
            <a:spLocks noGrp="1"/>
          </p:cNvSpPr>
          <p:nvPr>
            <p:ph type="ftr" idx="11"/>
          </p:nvPr>
        </p:nvSpPr>
        <p:spPr>
          <a:xfrm>
            <a:off x="2615184" y="6620256"/>
            <a:ext cx="5303520" cy="1188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/>
              <a:t>Agilent Private - DRAFT - NOT FOR DISTRIBUTION</a:t>
            </a:r>
            <a:endParaRPr dirty="0"/>
          </a:p>
        </p:txBody>
      </p:sp>
      <p:sp>
        <p:nvSpPr>
          <p:cNvPr id="185" name="Google Shape;185;p23"/>
          <p:cNvSpPr txBox="1">
            <a:spLocks noGrp="1"/>
          </p:cNvSpPr>
          <p:nvPr>
            <p:ph type="sldNum" idx="12"/>
          </p:nvPr>
        </p:nvSpPr>
        <p:spPr>
          <a:xfrm>
            <a:off x="502920" y="6620256"/>
            <a:ext cx="420624" cy="1188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897198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ilent 16:9 2-Col Right Only Narrow">
  <p:cSld name="Agilent 16:9 2-Col Right Only Narrow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116"/>
          <p:cNvSpPr txBox="1">
            <a:spLocks noGrp="1"/>
          </p:cNvSpPr>
          <p:nvPr>
            <p:ph type="body" idx="1"/>
          </p:nvPr>
        </p:nvSpPr>
        <p:spPr>
          <a:xfrm>
            <a:off x="7465671" y="1287522"/>
            <a:ext cx="4235845" cy="4887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>
                <a:latin typeface="Arial"/>
                <a:ea typeface="Arial"/>
                <a:cs typeface="Arial"/>
                <a:sym typeface="Arial"/>
              </a:defRPr>
            </a:lvl1pPr>
            <a:lvl2pPr marL="914400" lvl="1" indent="-34925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900"/>
              <a:buChar char="•"/>
              <a:defRPr sz="1900">
                <a:latin typeface="Arial"/>
                <a:ea typeface="Arial"/>
                <a:cs typeface="Arial"/>
                <a:sym typeface="Arial"/>
              </a:defRPr>
            </a:lvl2pPr>
            <a:lvl3pPr marL="1371600" lvl="2" indent="-33655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700"/>
              <a:buChar char="–"/>
              <a:defRPr sz="1700">
                <a:latin typeface="Arial"/>
                <a:ea typeface="Arial"/>
                <a:cs typeface="Arial"/>
                <a:sym typeface="Arial"/>
              </a:defRPr>
            </a:lvl3pPr>
            <a:lvl4pPr marL="1828800" lvl="3" indent="-33655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700"/>
              <a:buChar char="•"/>
              <a:defRPr sz="1700">
                <a:latin typeface="Arial"/>
                <a:ea typeface="Arial"/>
                <a:cs typeface="Arial"/>
                <a:sym typeface="Arial"/>
              </a:defRPr>
            </a:lvl4pPr>
            <a:lvl5pPr marL="2286000" lvl="4" indent="-32385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500"/>
              <a:buChar char="–"/>
              <a:defRPr sz="1500"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" name="Google Shape;67;p116"/>
          <p:cNvSpPr txBox="1">
            <a:spLocks noGrp="1"/>
          </p:cNvSpPr>
          <p:nvPr>
            <p:ph type="dt" idx="10"/>
          </p:nvPr>
        </p:nvSpPr>
        <p:spPr>
          <a:xfrm>
            <a:off x="1092982" y="6620256"/>
            <a:ext cx="1055857" cy="1188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/>
              <a:t>16 August 2022</a:t>
            </a:r>
            <a:endParaRPr dirty="0"/>
          </a:p>
        </p:txBody>
      </p:sp>
      <p:sp>
        <p:nvSpPr>
          <p:cNvPr id="68" name="Google Shape;68;p116"/>
          <p:cNvSpPr txBox="1">
            <a:spLocks noGrp="1"/>
          </p:cNvSpPr>
          <p:nvPr>
            <p:ph type="ftr" idx="11"/>
          </p:nvPr>
        </p:nvSpPr>
        <p:spPr>
          <a:xfrm>
            <a:off x="2614298" y="6620256"/>
            <a:ext cx="5303520" cy="1188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/>
              <a:t>Agilent Private - DRAFT - NOT FOR DISTRIBUTION</a:t>
            </a:r>
            <a:endParaRPr dirty="0"/>
          </a:p>
        </p:txBody>
      </p:sp>
      <p:sp>
        <p:nvSpPr>
          <p:cNvPr id="69" name="Google Shape;69;p116"/>
          <p:cNvSpPr txBox="1">
            <a:spLocks noGrp="1"/>
          </p:cNvSpPr>
          <p:nvPr>
            <p:ph type="sldNum" idx="12"/>
          </p:nvPr>
        </p:nvSpPr>
        <p:spPr>
          <a:xfrm>
            <a:off x="502920" y="6620256"/>
            <a:ext cx="434347" cy="1188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70" name="Google Shape;70;p116"/>
          <p:cNvSpPr txBox="1">
            <a:spLocks noGrp="1"/>
          </p:cNvSpPr>
          <p:nvPr>
            <p:ph type="title"/>
          </p:nvPr>
        </p:nvSpPr>
        <p:spPr>
          <a:xfrm>
            <a:off x="502919" y="246887"/>
            <a:ext cx="11198597" cy="9267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Arial"/>
              <a:buNone/>
              <a:defRPr sz="2800" b="0" i="0"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7712863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sk Overview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A8606-3BBD-5366-4C8F-52D13648F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8491" y="248556"/>
            <a:ext cx="11194268" cy="90549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EEFF31-EE23-C4E4-6FE7-0A4096C2E6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Agilent Private - DRAFT - NOT FOR DISTRIBUTIO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02DC4A-4C49-2C28-1682-5635F793277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dirty="0"/>
              <a:t>16 August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CBDA01-0AB7-94F7-D380-95F8EDF702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7" name="Google Shape;75;p94">
            <a:extLst>
              <a:ext uri="{FF2B5EF4-FFF2-40B4-BE49-F238E27FC236}">
                <a16:creationId xmlns:a16="http://schemas.microsoft.com/office/drawing/2014/main" id="{D91FD25D-3EB5-43EB-AC83-6C4432C21EEF}"/>
              </a:ext>
            </a:extLst>
          </p:cNvPr>
          <p:cNvSpPr txBox="1">
            <a:spLocks noGrp="1"/>
          </p:cNvSpPr>
          <p:nvPr>
            <p:ph type="body" idx="2"/>
          </p:nvPr>
        </p:nvSpPr>
        <p:spPr>
          <a:xfrm>
            <a:off x="6172200" y="1887794"/>
            <a:ext cx="5486400" cy="201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40" tIns="45700" rIns="91425" bIns="45700" anchor="t" anchorCtr="0">
            <a:noAutofit/>
          </a:bodyPr>
          <a:lstStyle>
            <a:lvl1pPr marL="177800" lvl="0" indent="-177800" algn="l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dk1"/>
              </a:buClr>
              <a:buSzPts val="1400"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  <a:latin typeface="+mn-lt"/>
                <a:ea typeface="Verdana"/>
                <a:cs typeface="Verdana"/>
                <a:sym typeface="Verdana"/>
              </a:defRPr>
            </a:lvl1pPr>
            <a:lvl2pPr marL="914400" lvl="1" indent="-3048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200"/>
              <a:buChar char="•"/>
              <a:defRPr sz="1200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2286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100"/>
              <a:buNone/>
              <a:defRPr sz="1100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295275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050"/>
              <a:buChar char="•"/>
              <a:defRPr sz="1050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295275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050"/>
              <a:buChar char="–"/>
              <a:defRPr sz="1050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dirty="0"/>
          </a:p>
        </p:txBody>
      </p:sp>
      <p:sp>
        <p:nvSpPr>
          <p:cNvPr id="8" name="Google Shape;76;p94">
            <a:extLst>
              <a:ext uri="{FF2B5EF4-FFF2-40B4-BE49-F238E27FC236}">
                <a16:creationId xmlns:a16="http://schemas.microsoft.com/office/drawing/2014/main" id="{506FE822-6433-A54C-ED90-98201E0E3B4A}"/>
              </a:ext>
            </a:extLst>
          </p:cNvPr>
          <p:cNvSpPr txBox="1"/>
          <p:nvPr userDrawn="1"/>
        </p:nvSpPr>
        <p:spPr>
          <a:xfrm>
            <a:off x="396564" y="1496899"/>
            <a:ext cx="134203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dk1"/>
                </a:solidFill>
                <a:latin typeface="+mn-lt"/>
                <a:ea typeface="Verdana"/>
                <a:cs typeface="Verdana"/>
                <a:sym typeface="Verdana"/>
              </a:rPr>
              <a:t>Key Tasks</a:t>
            </a:r>
            <a:endParaRPr dirty="0">
              <a:latin typeface="+mn-lt"/>
            </a:endParaRPr>
          </a:p>
        </p:txBody>
      </p:sp>
      <p:sp>
        <p:nvSpPr>
          <p:cNvPr id="9" name="Google Shape;77;p94">
            <a:extLst>
              <a:ext uri="{FF2B5EF4-FFF2-40B4-BE49-F238E27FC236}">
                <a16:creationId xmlns:a16="http://schemas.microsoft.com/office/drawing/2014/main" id="{61C8F187-EB46-935E-B716-1058F286503B}"/>
              </a:ext>
            </a:extLst>
          </p:cNvPr>
          <p:cNvSpPr txBox="1"/>
          <p:nvPr userDrawn="1"/>
        </p:nvSpPr>
        <p:spPr>
          <a:xfrm>
            <a:off x="6072513" y="1496899"/>
            <a:ext cx="160172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dk1"/>
                </a:solidFill>
                <a:latin typeface="+mn-lt"/>
                <a:ea typeface="Verdana"/>
                <a:cs typeface="Verdana"/>
                <a:sym typeface="Verdana"/>
              </a:rPr>
              <a:t>Key Outputs</a:t>
            </a:r>
            <a:endParaRPr dirty="0">
              <a:latin typeface="+mn-lt"/>
            </a:endParaRPr>
          </a:p>
        </p:txBody>
      </p:sp>
      <p:cxnSp>
        <p:nvCxnSpPr>
          <p:cNvPr id="10" name="Google Shape;78;p94">
            <a:extLst>
              <a:ext uri="{FF2B5EF4-FFF2-40B4-BE49-F238E27FC236}">
                <a16:creationId xmlns:a16="http://schemas.microsoft.com/office/drawing/2014/main" id="{FFD519A1-434B-80EE-FB9F-0D003B3699B8}"/>
              </a:ext>
            </a:extLst>
          </p:cNvPr>
          <p:cNvCxnSpPr/>
          <p:nvPr userDrawn="1"/>
        </p:nvCxnSpPr>
        <p:spPr>
          <a:xfrm>
            <a:off x="496251" y="1846567"/>
            <a:ext cx="5394960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1" name="Google Shape;79;p94">
            <a:extLst>
              <a:ext uri="{FF2B5EF4-FFF2-40B4-BE49-F238E27FC236}">
                <a16:creationId xmlns:a16="http://schemas.microsoft.com/office/drawing/2014/main" id="{878203F3-A28F-3128-F846-C7D67E1DEA69}"/>
              </a:ext>
            </a:extLst>
          </p:cNvPr>
          <p:cNvCxnSpPr/>
          <p:nvPr userDrawn="1"/>
        </p:nvCxnSpPr>
        <p:spPr>
          <a:xfrm>
            <a:off x="6172200" y="1846567"/>
            <a:ext cx="5394960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" name="Google Shape;80;p94">
            <a:extLst>
              <a:ext uri="{FF2B5EF4-FFF2-40B4-BE49-F238E27FC236}">
                <a16:creationId xmlns:a16="http://schemas.microsoft.com/office/drawing/2014/main" id="{C10ECA2A-C289-8D4A-1AD2-5A9A7F70A4B1}"/>
              </a:ext>
            </a:extLst>
          </p:cNvPr>
          <p:cNvSpPr txBox="1"/>
          <p:nvPr userDrawn="1"/>
        </p:nvSpPr>
        <p:spPr>
          <a:xfrm>
            <a:off x="413148" y="1158345"/>
            <a:ext cx="135966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dk1"/>
                </a:solidFill>
                <a:latin typeface="+mn-lt"/>
                <a:ea typeface="Verdana"/>
                <a:cs typeface="Verdana"/>
                <a:sym typeface="Verdana"/>
              </a:rPr>
              <a:t>Objective:</a:t>
            </a:r>
            <a:endParaRPr dirty="0">
              <a:latin typeface="+mn-lt"/>
            </a:endParaRPr>
          </a:p>
        </p:txBody>
      </p:sp>
      <p:sp>
        <p:nvSpPr>
          <p:cNvPr id="13" name="Google Shape;81;p94">
            <a:extLst>
              <a:ext uri="{FF2B5EF4-FFF2-40B4-BE49-F238E27FC236}">
                <a16:creationId xmlns:a16="http://schemas.microsoft.com/office/drawing/2014/main" id="{8A248022-83EB-5F0D-5E22-2966EB8F1688}"/>
              </a:ext>
            </a:extLst>
          </p:cNvPr>
          <p:cNvSpPr txBox="1">
            <a:spLocks noGrp="1"/>
          </p:cNvSpPr>
          <p:nvPr>
            <p:ph type="body" idx="3"/>
          </p:nvPr>
        </p:nvSpPr>
        <p:spPr>
          <a:xfrm>
            <a:off x="1502037" y="1208259"/>
            <a:ext cx="10190722" cy="2714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40" tIns="45700" rIns="91440" bIns="45700" anchor="t" anchorCtr="0">
            <a:noAutofit/>
          </a:bodyPr>
          <a:lstStyle>
            <a:lvl1pPr marL="7938" lv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tabLst/>
              <a:defRPr sz="1400"/>
            </a:lvl1pPr>
            <a:lvl2pPr marL="914400" lvl="1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3pPr>
            <a:lvl4pPr marL="1828800" lvl="3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dirty="0"/>
          </a:p>
        </p:txBody>
      </p:sp>
      <p:sp>
        <p:nvSpPr>
          <p:cNvPr id="15" name="Google Shape;83;p94">
            <a:extLst>
              <a:ext uri="{FF2B5EF4-FFF2-40B4-BE49-F238E27FC236}">
                <a16:creationId xmlns:a16="http://schemas.microsoft.com/office/drawing/2014/main" id="{E923A8FB-78FE-76F2-6D4F-027C871BF141}"/>
              </a:ext>
            </a:extLst>
          </p:cNvPr>
          <p:cNvSpPr txBox="1"/>
          <p:nvPr userDrawn="1"/>
        </p:nvSpPr>
        <p:spPr>
          <a:xfrm>
            <a:off x="6064046" y="4000394"/>
            <a:ext cx="33970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dk1"/>
                </a:solidFill>
                <a:latin typeface="+mn-lt"/>
                <a:ea typeface="Verdana"/>
                <a:cs typeface="Verdana"/>
                <a:sym typeface="Verdana"/>
              </a:rPr>
              <a:t>Risks (R) / Decisions (D) Needed</a:t>
            </a:r>
            <a:endParaRPr dirty="0">
              <a:latin typeface="+mn-lt"/>
            </a:endParaRPr>
          </a:p>
        </p:txBody>
      </p:sp>
      <p:cxnSp>
        <p:nvCxnSpPr>
          <p:cNvPr id="16" name="Google Shape;84;p94">
            <a:extLst>
              <a:ext uri="{FF2B5EF4-FFF2-40B4-BE49-F238E27FC236}">
                <a16:creationId xmlns:a16="http://schemas.microsoft.com/office/drawing/2014/main" id="{E3E73B54-619A-DDBA-5386-F1D272E155D5}"/>
              </a:ext>
            </a:extLst>
          </p:cNvPr>
          <p:cNvCxnSpPr/>
          <p:nvPr userDrawn="1"/>
        </p:nvCxnSpPr>
        <p:spPr>
          <a:xfrm>
            <a:off x="6172200" y="4350062"/>
            <a:ext cx="5394960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6E14BA3-9970-BA27-3C41-46140CEBA7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8491" y="1887794"/>
            <a:ext cx="5486400" cy="4288536"/>
          </a:xfrm>
        </p:spPr>
        <p:txBody>
          <a:bodyPr lIns="91440">
            <a:noAutofit/>
          </a:bodyPr>
          <a:lstStyle>
            <a:lvl1pPr marL="234950" indent="-234950">
              <a:buFont typeface="+mj-lt"/>
              <a:buAutoNum type="arabicPeriod"/>
              <a:tabLst/>
              <a:defRPr sz="1400"/>
            </a:lvl1pPr>
            <a:lvl2pPr marL="407988" indent="-146050">
              <a:tabLst/>
              <a:defRPr sz="1200"/>
            </a:lvl2pPr>
            <a:lvl3pPr marL="688975" indent="-254000">
              <a:tabLst/>
              <a:defRPr sz="1100"/>
            </a:lvl3pPr>
            <a:lvl4pPr marL="860425" indent="-190500">
              <a:tabLst/>
              <a:defRPr sz="1100"/>
            </a:lvl4pPr>
            <a:lvl5pPr marL="1087438" indent="-180975">
              <a:tabLst/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Google Shape;75;p94">
            <a:extLst>
              <a:ext uri="{FF2B5EF4-FFF2-40B4-BE49-F238E27FC236}">
                <a16:creationId xmlns:a16="http://schemas.microsoft.com/office/drawing/2014/main" id="{BE8C2E1B-384D-4F74-2F7F-C0BFA2C02637}"/>
              </a:ext>
            </a:extLst>
          </p:cNvPr>
          <p:cNvSpPr txBox="1">
            <a:spLocks noGrp="1"/>
          </p:cNvSpPr>
          <p:nvPr>
            <p:ph type="body" idx="14"/>
          </p:nvPr>
        </p:nvSpPr>
        <p:spPr>
          <a:xfrm>
            <a:off x="6172200" y="4387495"/>
            <a:ext cx="5486400" cy="17922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40" tIns="45700" rIns="91425" bIns="45700" anchor="t" anchorCtr="0">
            <a:noAutofit/>
          </a:bodyPr>
          <a:lstStyle>
            <a:lvl1pPr marL="177800" lvl="0" indent="-177800" algn="l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dk1"/>
              </a:buClr>
              <a:buSzPts val="1400"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  <a:latin typeface="+mn-lt"/>
                <a:ea typeface="Verdana"/>
                <a:cs typeface="Verdana"/>
                <a:sym typeface="Verdana"/>
              </a:defRPr>
            </a:lvl1pPr>
            <a:lvl2pPr marL="914400" lvl="1" indent="-3048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200"/>
              <a:buChar char="•"/>
              <a:defRPr sz="1200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2286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100"/>
              <a:buNone/>
              <a:defRPr sz="1100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295275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050"/>
              <a:buChar char="•"/>
              <a:defRPr sz="1050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295275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050"/>
              <a:buChar char="–"/>
              <a:defRPr sz="1050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0194879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36693" y="1353313"/>
            <a:ext cx="10932160" cy="4755387"/>
          </a:xfr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EA1010"/>
              </a:buClr>
              <a:buSzPct val="75000"/>
              <a:buFont typeface="Wingdings" charset="2"/>
              <a:buChar char="§"/>
              <a:defRPr lang="en-US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685783" lvl="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A1010"/>
              </a:buClr>
              <a:buSzPct val="75000"/>
              <a:buFont typeface="Lucida Grande"/>
              <a:buChar char="-"/>
            </a:pPr>
            <a:r>
              <a:rPr lang="en-US" dirty="0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76A422E-F4A4-1902-F28A-BBE0839772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2026" y="6507941"/>
            <a:ext cx="2045710" cy="25717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0D9563C-E1F3-1DC0-5268-D210B59E899B}"/>
              </a:ext>
            </a:extLst>
          </p:cNvPr>
          <p:cNvSpPr txBox="1"/>
          <p:nvPr userDrawn="1"/>
        </p:nvSpPr>
        <p:spPr>
          <a:xfrm>
            <a:off x="2609913" y="6636528"/>
            <a:ext cx="6095114" cy="1692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500" dirty="0"/>
              <a:t>© 2022 DatalogIQ 360 |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22834259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B30B624-9947-E157-412F-3870F6D8DD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2026" y="6507941"/>
            <a:ext cx="2045710" cy="25717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036BD4B-5A4E-149C-5F44-44C9C827EF73}"/>
              </a:ext>
            </a:extLst>
          </p:cNvPr>
          <p:cNvSpPr txBox="1"/>
          <p:nvPr userDrawn="1"/>
        </p:nvSpPr>
        <p:spPr>
          <a:xfrm>
            <a:off x="2609913" y="6636528"/>
            <a:ext cx="6095114" cy="1692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500" dirty="0"/>
              <a:t>© 2022 DatalogIQ 360 |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47543756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 gradient Blank">
    <p:bg>
      <p:bgPr>
        <a:gradFill>
          <a:gsLst>
            <a:gs pos="100000">
              <a:schemeClr val="tx2">
                <a:lumMod val="94000"/>
                <a:lumOff val="6000"/>
              </a:schemeClr>
            </a:gs>
            <a:gs pos="0">
              <a:srgbClr val="0F0F0F">
                <a:lumMod val="94000"/>
                <a:lumOff val="6000"/>
              </a:srgb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9234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2B608-5707-6EA4-26F1-72CC4FC5C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4978DA-AC23-3946-184F-0017DC69CDA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7682557-C9E3-A5EB-65FD-F6E8A9E6DA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9C24A0D-65C8-9D16-696B-26FB06AE2A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EBFD35B-CD43-991A-234C-B39F915671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5181FCE-9D72-7E48-5A77-EE821814C7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264579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3521" y="109874"/>
            <a:ext cx="11191950" cy="103965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1E617D7F-ABC2-B54B-B054-76FDCC8184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309670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34328904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490704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805B6D-2EE1-FD1E-038F-5CE440376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89737C-5388-D4AE-8871-473EBFCBAC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F002046-D8EF-8A17-7E9D-E90DFD95E1F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1E52B18-D7BA-585C-4C61-FBD673FBA86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2BBC4F1-0439-8AA8-D029-E149BB9C44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6A7567A-047B-68FF-00ED-E730E4C501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1A53ACE-CA51-21C1-DC68-9640904B44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DAA246B-5D03-7606-DDCA-8AC8C0BB46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01763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40B2BC-2AEA-7093-70EA-8E497D44CE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469A6C-F24B-40D2-79DB-EAFE562FBE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E115B7F-BAE7-763A-30B2-C1C32E744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807326-6C7A-A4E6-8468-2680BA97D7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23016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8B4379B-5838-2CE6-D7CB-E196874766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74E6492-C8B6-0B0A-9F8D-C75DB71945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074C90-4DF7-8037-9929-5F97F25BE5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34762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6287F1-60CB-10B0-64C1-DC4EFBFE72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4EC2E7-ADCC-B5ED-F2C6-8E81343D4C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F436C1-37C6-7208-0366-2B56AAC8390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A7152D-91F6-AE1B-83BB-2264842003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F35685E-A916-9FB2-C9E6-D3AD0A6B3E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DEA2D84-E72E-361B-81B9-5A2154EC3C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85317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94D4EE-21C9-49AF-9F71-4A61B28C09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367A66E-6E68-73D3-5294-4D4AE128A84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5A4805-6360-7B87-AD68-5E10618D86E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2BFB9D-1F38-A70A-9907-F87FAA991C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AD157C-474B-23AC-B0C4-1B785EF027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5DD46BF-CB72-8DA1-B580-1BF185392D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65710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image" Target="../media/image3.png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tags" Target="../tags/tag1.xml"/><Relationship Id="rId30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5" Type="http://schemas.openxmlformats.org/officeDocument/2006/relationships/slideLayout" Target="../slideLayouts/slideLayout41.xml"/><Relationship Id="rId4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66CA43B-6109-BF54-46D0-D771F776A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198AF3-7052-8ED1-E29A-1D61CAF871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569A2B-7608-109A-091E-E57256F90E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4F30CB-73ED-00F3-A0C1-09E56A1698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F9E01F-DDD6-E157-1873-7798029E8A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7031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58BDD55-716D-40BF-B7BD-53E264DE0E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852859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416" imgH="416" progId="TCLayout.ActiveDocument.1">
                  <p:embed/>
                </p:oleObj>
              </mc:Choice>
              <mc:Fallback>
                <p:oleObj name="think-cell Slide" r:id="rId29" imgW="416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58BDD55-716D-40BF-B7BD-53E264DE0E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FFBCA17-8DB0-47C4-97FF-0AB061EA3262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2800" b="0" i="0" baseline="0" dirty="0">
              <a:latin typeface="Arial" panose="020B0604020202020204" pitchFamily="34" charset="0"/>
              <a:ea typeface="Roboto Medium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0" y="6482602"/>
            <a:ext cx="12192000" cy="377952"/>
            <a:chOff x="0" y="6482602"/>
            <a:chExt cx="12192000" cy="377952"/>
          </a:xfrm>
        </p:grpSpPr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3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6482602"/>
              <a:ext cx="12192000" cy="377952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 userDrawn="1"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4" y="6487228"/>
              <a:ext cx="12190992" cy="371825"/>
            </a:xfrm>
            <a:prstGeom prst="rect">
              <a:avLst/>
            </a:prstGeom>
          </p:spPr>
        </p:pic>
      </p:grp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498491" y="248556"/>
            <a:ext cx="11194268" cy="905495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498491" y="1291996"/>
            <a:ext cx="11194268" cy="4668376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3"/>
          </p:nvPr>
        </p:nvSpPr>
        <p:spPr bwMode="white">
          <a:xfrm>
            <a:off x="2614298" y="6620256"/>
            <a:ext cx="5303520" cy="11887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4" name="Date Placeholder 3"/>
          <p:cNvSpPr>
            <a:spLocks noGrp="1"/>
          </p:cNvSpPr>
          <p:nvPr userDrawn="1">
            <p:ph type="dt" sz="half" idx="2"/>
          </p:nvPr>
        </p:nvSpPr>
        <p:spPr bwMode="white">
          <a:xfrm>
            <a:off x="1092982" y="6620256"/>
            <a:ext cx="1055857" cy="11887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800" rtl="0" eaLnBrk="1" latinLnBrk="0" hangingPunct="1">
              <a:defRPr lang="en-US" sz="8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 bwMode="white">
          <a:xfrm>
            <a:off x="502920" y="6620256"/>
            <a:ext cx="434347" cy="11887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800" rtl="0" eaLnBrk="1" latinLnBrk="0" hangingPunct="1">
              <a:defRPr lang="en-US" sz="800" b="0" i="0" kern="1200" smtClean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32422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36" r:id="rId19"/>
    <p:sldLayoutId id="2147483737" r:id="rId20"/>
    <p:sldLayoutId id="2147483738" r:id="rId21"/>
    <p:sldLayoutId id="2147483739" r:id="rId22"/>
    <p:sldLayoutId id="2147483740" r:id="rId23"/>
    <p:sldLayoutId id="2147483741" r:id="rId24"/>
    <p:sldLayoutId id="2147483742" r:id="rId25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chemeClr val="accent1"/>
          </a:solidFill>
          <a:latin typeface="Arial" panose="020B0604020202020204" pitchFamily="34" charset="0"/>
          <a:ea typeface="Roboto Medium" panose="02000000000000000000" pitchFamily="2" charset="0"/>
          <a:cs typeface="Arial" panose="020B0604020202020204" pitchFamily="34" charset="0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1200"/>
        </a:spcBef>
        <a:buFontTx/>
        <a:buNone/>
        <a:defRPr sz="2100" kern="1200">
          <a:solidFill>
            <a:schemeClr val="tx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1pPr>
      <a:lvl2pPr marL="173038" indent="-173038" algn="l" defTabSz="6858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2pPr>
      <a:lvl3pPr marL="457200" indent="-228600" algn="l" defTabSz="6858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700" kern="1200">
          <a:solidFill>
            <a:schemeClr val="tx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3pPr>
      <a:lvl4pPr marL="627063" indent="-168275" algn="l" defTabSz="6858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4pPr>
      <a:lvl5pPr marL="857250" indent="-182563" algn="l" defTabSz="6858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3" orient="horz" pos="2160">
          <p15:clr>
            <a:srgbClr val="F26B43"/>
          </p15:clr>
        </p15:guide>
        <p15:guide id="14" pos="6720">
          <p15:clr>
            <a:srgbClr val="F26B43"/>
          </p15:clr>
        </p15:guide>
        <p15:guide id="15" orient="horz" pos="912">
          <p15:clr>
            <a:srgbClr val="F26B43"/>
          </p15:clr>
        </p15:guide>
        <p15:guide id="16" orient="horz" pos="192">
          <p15:clr>
            <a:srgbClr val="F26B43"/>
          </p15:clr>
        </p15:guide>
        <p15:guide id="17" orient="horz" pos="3888">
          <p15:clr>
            <a:srgbClr val="F26B43"/>
          </p15:clr>
        </p15:guide>
        <p15:guide id="18" pos="312">
          <p15:clr>
            <a:srgbClr val="F26B43"/>
          </p15:clr>
        </p15:guide>
        <p15:guide id="19" pos="7488">
          <p15:clr>
            <a:srgbClr val="F26B43"/>
          </p15:clr>
        </p15:guide>
        <p15:guide id="20" orient="horz" pos="1008">
          <p15:clr>
            <a:srgbClr val="F26B43"/>
          </p15:clr>
        </p15:guide>
        <p15:guide id="21" orient="horz" pos="4032">
          <p15:clr>
            <a:srgbClr val="F26B43"/>
          </p15:clr>
        </p15:guide>
        <p15:guide id="22" pos="3840">
          <p15:clr>
            <a:srgbClr val="F26B43"/>
          </p15:clr>
        </p15:guide>
        <p15:guide id="23" orient="horz" pos="4272">
          <p15:clr>
            <a:srgbClr val="F26B43"/>
          </p15:clr>
        </p15:guide>
        <p15:guide id="24" pos="681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36693" y="249511"/>
            <a:ext cx="10932160" cy="9907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0" lang="en-US" sz="373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6693" y="1353311"/>
            <a:ext cx="10932160" cy="47548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A1010"/>
              </a:buClr>
              <a:buSzPct val="75000"/>
              <a:buFont typeface="Wingdings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685783" marR="0" lvl="1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A1010"/>
              </a:buClr>
              <a:buSzPct val="75000"/>
              <a:buFont typeface="Lucida Grande"/>
              <a:buChar char="-"/>
              <a:tabLst/>
              <a:defRPr/>
            </a:pPr>
            <a:r>
              <a:rPr kumimoji="0" lang="en-US" sz="213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5621020" y="6395731"/>
            <a:ext cx="69088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4354" fontAlgn="auto">
              <a:spcBef>
                <a:spcPts val="0"/>
              </a:spcBef>
              <a:spcAft>
                <a:spcPts val="0"/>
              </a:spcAft>
            </a:pPr>
            <a:fld id="{4BC8C7BF-536A-5D4E-8B21-0CE6F1D2E9E6}" type="slidenum">
              <a:rPr lang="en-US" sz="1067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91435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067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850611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733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marR="0" indent="-228594" algn="l" defTabSz="914377" rtl="0" eaLnBrk="1" fontAlgn="auto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lang="en-US" sz="2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685783" marR="0" indent="-228594" algn="l" defTabSz="914377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>
          <a:srgbClr val="EA1010"/>
        </a:buClr>
        <a:buSzPct val="75000"/>
        <a:buFont typeface="Lucida Grande"/>
        <a:buChar char="-"/>
        <a:tabLst/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8" name="Rectangle 37">
            <a:extLst>
              <a:ext uri="{FF2B5EF4-FFF2-40B4-BE49-F238E27FC236}">
                <a16:creationId xmlns:a16="http://schemas.microsoft.com/office/drawing/2014/main" id="{9B7AD9F6-8CE7-4299-8FC6-328F4DCD3F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55C5B7E0-5759-87DE-4168-B7031A75F75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50680" y="2327052"/>
            <a:ext cx="4309990" cy="1456390"/>
          </a:xfrm>
        </p:spPr>
        <p:txBody>
          <a:bodyPr vert="horz" lIns="91440" tIns="45720" rIns="91440" bIns="45720" rtlCol="0" anchor="b">
            <a:noAutofit/>
          </a:bodyPr>
          <a:lstStyle/>
          <a:p>
            <a:pPr algn="ctr" defTabSz="914400"/>
            <a:r>
              <a:rPr lang="en-US" sz="5400" dirty="0">
                <a:latin typeface="+mj-lt"/>
                <a:ea typeface="+mj-ea"/>
                <a:cs typeface="+mj-cs"/>
              </a:rPr>
              <a:t>Vision </a:t>
            </a:r>
            <a:br>
              <a:rPr lang="en-US" sz="5400" dirty="0">
                <a:latin typeface="+mj-lt"/>
                <a:ea typeface="+mj-ea"/>
                <a:cs typeface="+mj-cs"/>
              </a:rPr>
            </a:br>
            <a:r>
              <a:rPr lang="en-US" sz="5400" dirty="0">
                <a:latin typeface="+mj-lt"/>
                <a:ea typeface="+mj-ea"/>
                <a:cs typeface="+mj-cs"/>
              </a:rPr>
              <a:t>&amp;</a:t>
            </a:r>
            <a:br>
              <a:rPr lang="en-US" sz="5400" dirty="0">
                <a:latin typeface="+mj-lt"/>
                <a:ea typeface="+mj-ea"/>
                <a:cs typeface="+mj-cs"/>
              </a:rPr>
            </a:br>
            <a:r>
              <a:rPr lang="en-US" sz="5400" dirty="0"/>
              <a:t>Mission </a:t>
            </a:r>
            <a:endParaRPr lang="en-US" sz="5400" dirty="0">
              <a:latin typeface="+mj-lt"/>
              <a:ea typeface="+mj-ea"/>
              <a:cs typeface="+mj-cs"/>
            </a:endParaRPr>
          </a:p>
        </p:txBody>
      </p:sp>
      <p:sp>
        <p:nvSpPr>
          <p:cNvPr id="40" name="sketchy line">
            <a:extLst>
              <a:ext uri="{FF2B5EF4-FFF2-40B4-BE49-F238E27FC236}">
                <a16:creationId xmlns:a16="http://schemas.microsoft.com/office/drawing/2014/main" id="{F49775AF-8896-43EE-92C6-83497D6DC5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90338" y="4409267"/>
            <a:ext cx="3474720" cy="18288"/>
          </a:xfrm>
          <a:custGeom>
            <a:avLst/>
            <a:gdLst>
              <a:gd name="connsiteX0" fmla="*/ 0 w 3474720"/>
              <a:gd name="connsiteY0" fmla="*/ 0 h 18288"/>
              <a:gd name="connsiteX1" fmla="*/ 694944 w 3474720"/>
              <a:gd name="connsiteY1" fmla="*/ 0 h 18288"/>
              <a:gd name="connsiteX2" fmla="*/ 1355141 w 3474720"/>
              <a:gd name="connsiteY2" fmla="*/ 0 h 18288"/>
              <a:gd name="connsiteX3" fmla="*/ 2015338 w 3474720"/>
              <a:gd name="connsiteY3" fmla="*/ 0 h 18288"/>
              <a:gd name="connsiteX4" fmla="*/ 2779776 w 3474720"/>
              <a:gd name="connsiteY4" fmla="*/ 0 h 18288"/>
              <a:gd name="connsiteX5" fmla="*/ 3474720 w 3474720"/>
              <a:gd name="connsiteY5" fmla="*/ 0 h 18288"/>
              <a:gd name="connsiteX6" fmla="*/ 3474720 w 3474720"/>
              <a:gd name="connsiteY6" fmla="*/ 18288 h 18288"/>
              <a:gd name="connsiteX7" fmla="*/ 2779776 w 3474720"/>
              <a:gd name="connsiteY7" fmla="*/ 18288 h 18288"/>
              <a:gd name="connsiteX8" fmla="*/ 2189074 w 3474720"/>
              <a:gd name="connsiteY8" fmla="*/ 18288 h 18288"/>
              <a:gd name="connsiteX9" fmla="*/ 1528877 w 3474720"/>
              <a:gd name="connsiteY9" fmla="*/ 18288 h 18288"/>
              <a:gd name="connsiteX10" fmla="*/ 868680 w 3474720"/>
              <a:gd name="connsiteY10" fmla="*/ 18288 h 18288"/>
              <a:gd name="connsiteX11" fmla="*/ 0 w 3474720"/>
              <a:gd name="connsiteY11" fmla="*/ 18288 h 18288"/>
              <a:gd name="connsiteX12" fmla="*/ 0 w 347472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474720" h="18288" fill="none" extrusionOk="0">
                <a:moveTo>
                  <a:pt x="0" y="0"/>
                </a:moveTo>
                <a:cubicBezTo>
                  <a:pt x="224454" y="-14544"/>
                  <a:pt x="495407" y="26540"/>
                  <a:pt x="694944" y="0"/>
                </a:cubicBezTo>
                <a:cubicBezTo>
                  <a:pt x="894481" y="-26540"/>
                  <a:pt x="1130063" y="24713"/>
                  <a:pt x="1355141" y="0"/>
                </a:cubicBezTo>
                <a:cubicBezTo>
                  <a:pt x="1580219" y="-24713"/>
                  <a:pt x="1820099" y="26695"/>
                  <a:pt x="2015338" y="0"/>
                </a:cubicBezTo>
                <a:cubicBezTo>
                  <a:pt x="2210577" y="-26695"/>
                  <a:pt x="2402045" y="165"/>
                  <a:pt x="2779776" y="0"/>
                </a:cubicBezTo>
                <a:cubicBezTo>
                  <a:pt x="3157507" y="-165"/>
                  <a:pt x="3286859" y="-15571"/>
                  <a:pt x="3474720" y="0"/>
                </a:cubicBezTo>
                <a:cubicBezTo>
                  <a:pt x="3474286" y="7551"/>
                  <a:pt x="3474253" y="9822"/>
                  <a:pt x="3474720" y="18288"/>
                </a:cubicBezTo>
                <a:cubicBezTo>
                  <a:pt x="3233904" y="29845"/>
                  <a:pt x="2945134" y="-5256"/>
                  <a:pt x="2779776" y="18288"/>
                </a:cubicBezTo>
                <a:cubicBezTo>
                  <a:pt x="2614418" y="41832"/>
                  <a:pt x="2339768" y="22709"/>
                  <a:pt x="2189074" y="18288"/>
                </a:cubicBezTo>
                <a:cubicBezTo>
                  <a:pt x="2038380" y="13867"/>
                  <a:pt x="1817434" y="-4947"/>
                  <a:pt x="1528877" y="18288"/>
                </a:cubicBezTo>
                <a:cubicBezTo>
                  <a:pt x="1240320" y="41523"/>
                  <a:pt x="1042447" y="37198"/>
                  <a:pt x="868680" y="18288"/>
                </a:cubicBezTo>
                <a:cubicBezTo>
                  <a:pt x="694913" y="-622"/>
                  <a:pt x="233232" y="44909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474720" h="18288" stroke="0" extrusionOk="0">
                <a:moveTo>
                  <a:pt x="0" y="0"/>
                </a:moveTo>
                <a:cubicBezTo>
                  <a:pt x="202328" y="-14716"/>
                  <a:pt x="332722" y="-11499"/>
                  <a:pt x="625450" y="0"/>
                </a:cubicBezTo>
                <a:cubicBezTo>
                  <a:pt x="918178" y="11499"/>
                  <a:pt x="1096688" y="5123"/>
                  <a:pt x="1389888" y="0"/>
                </a:cubicBezTo>
                <a:cubicBezTo>
                  <a:pt x="1683088" y="-5123"/>
                  <a:pt x="1835981" y="-14038"/>
                  <a:pt x="1980590" y="0"/>
                </a:cubicBezTo>
                <a:cubicBezTo>
                  <a:pt x="2125199" y="14038"/>
                  <a:pt x="2396099" y="-7203"/>
                  <a:pt x="2571293" y="0"/>
                </a:cubicBezTo>
                <a:cubicBezTo>
                  <a:pt x="2746487" y="7203"/>
                  <a:pt x="3041609" y="-12036"/>
                  <a:pt x="3474720" y="0"/>
                </a:cubicBezTo>
                <a:cubicBezTo>
                  <a:pt x="3474638" y="4406"/>
                  <a:pt x="3474631" y="9982"/>
                  <a:pt x="3474720" y="18288"/>
                </a:cubicBezTo>
                <a:cubicBezTo>
                  <a:pt x="3324873" y="21876"/>
                  <a:pt x="3136771" y="12587"/>
                  <a:pt x="2814523" y="18288"/>
                </a:cubicBezTo>
                <a:cubicBezTo>
                  <a:pt x="2492275" y="23989"/>
                  <a:pt x="2294402" y="47111"/>
                  <a:pt x="2154326" y="18288"/>
                </a:cubicBezTo>
                <a:cubicBezTo>
                  <a:pt x="2014250" y="-10535"/>
                  <a:pt x="1820317" y="33903"/>
                  <a:pt x="1494130" y="18288"/>
                </a:cubicBezTo>
                <a:cubicBezTo>
                  <a:pt x="1167943" y="2673"/>
                  <a:pt x="948432" y="14868"/>
                  <a:pt x="729691" y="18288"/>
                </a:cubicBezTo>
                <a:cubicBezTo>
                  <a:pt x="510950" y="21708"/>
                  <a:pt x="264032" y="24354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A880877E-33BB-E2BE-969F-61A25C98D76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2"/>
          <a:stretch/>
        </p:blipFill>
        <p:spPr>
          <a:xfrm>
            <a:off x="5311702" y="10"/>
            <a:ext cx="6878775" cy="6857990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AEDC45BB-E363-21AD-DC7E-D1BEBC889CC4}"/>
              </a:ext>
            </a:extLst>
          </p:cNvPr>
          <p:cNvSpPr txBox="1"/>
          <p:nvPr/>
        </p:nvSpPr>
        <p:spPr>
          <a:xfrm>
            <a:off x="420174" y="5347454"/>
            <a:ext cx="60949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4"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gust </a:t>
            </a:r>
            <a:r>
              <a:rPr lang="en-US" dirty="0">
                <a:solidFill>
                  <a:srgbClr val="000000"/>
                </a:solidFill>
                <a:latin typeface="Arial"/>
              </a:rPr>
              <a:t>15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2023</a:t>
            </a:r>
          </a:p>
        </p:txBody>
      </p:sp>
    </p:spTree>
    <p:extLst>
      <p:ext uri="{BB962C8B-B14F-4D97-AF65-F5344CB8AC3E}">
        <p14:creationId xmlns:p14="http://schemas.microsoft.com/office/powerpoint/2010/main" val="993738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4">
            <a:extLst>
              <a:ext uri="{FF2B5EF4-FFF2-40B4-BE49-F238E27FC236}">
                <a16:creationId xmlns:a16="http://schemas.microsoft.com/office/drawing/2014/main" id="{452FE859-0542-8BF0-218F-49557761E1F3}"/>
              </a:ext>
            </a:extLst>
          </p:cNvPr>
          <p:cNvSpPr txBox="1">
            <a:spLocks/>
          </p:cNvSpPr>
          <p:nvPr/>
        </p:nvSpPr>
        <p:spPr>
          <a:xfrm>
            <a:off x="502919" y="246888"/>
            <a:ext cx="11198597" cy="923544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accent1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rPr>
              <a:t>The Data Governance / Management Vision &amp; Mission Statement </a:t>
            </a: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rPr>
              <a:t>[Insert Data Organization Name]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75000"/>
                </a:schemeClr>
              </a:solidFill>
              <a:effectLst/>
              <a:uLnTx/>
              <a:uFillTx/>
              <a:latin typeface="Arial" panose="020B0604020202020204" pitchFamily="34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1B1EC87-ACEB-2246-C139-5739B0731DCA}"/>
              </a:ext>
            </a:extLst>
          </p:cNvPr>
          <p:cNvSpPr txBox="1"/>
          <p:nvPr/>
        </p:nvSpPr>
        <p:spPr>
          <a:xfrm>
            <a:off x="8598716" y="831878"/>
            <a:ext cx="2997730" cy="33855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 defTabSz="914400">
              <a:defRPr/>
            </a:pPr>
            <a:r>
              <a:rPr lang="en-US" sz="1600" b="1" dirty="0">
                <a:solidFill>
                  <a:srgbClr val="3E4043"/>
                </a:solidFill>
                <a:cs typeface="Arial"/>
              </a:rPr>
              <a:t>Principles</a:t>
            </a:r>
          </a:p>
        </p:txBody>
      </p:sp>
      <p:graphicFrame>
        <p:nvGraphicFramePr>
          <p:cNvPr id="8" name="Table 11">
            <a:extLst>
              <a:ext uri="{FF2B5EF4-FFF2-40B4-BE49-F238E27FC236}">
                <a16:creationId xmlns:a16="http://schemas.microsoft.com/office/drawing/2014/main" id="{E480EACF-F061-FA96-69AE-B32575443E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1265544"/>
              </p:ext>
            </p:extLst>
          </p:nvPr>
        </p:nvGraphicFramePr>
        <p:xfrm>
          <a:off x="8369857" y="1307065"/>
          <a:ext cx="3583358" cy="4590395"/>
        </p:xfrm>
        <a:graphic>
          <a:graphicData uri="http://schemas.openxmlformats.org/drawingml/2006/table">
            <a:tbl>
              <a:tblPr bandRow="1"/>
              <a:tblGrid>
                <a:gridCol w="3583358">
                  <a:extLst>
                    <a:ext uri="{9D8B030D-6E8A-4147-A177-3AD203B41FA5}">
                      <a16:colId xmlns:a16="http://schemas.microsoft.com/office/drawing/2014/main" val="1361791367"/>
                    </a:ext>
                  </a:extLst>
                </a:gridCol>
              </a:tblGrid>
              <a:tr h="391647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i="0" dirty="0">
                          <a:solidFill>
                            <a:schemeClr val="accent5"/>
                          </a:solidFill>
                        </a:rPr>
                        <a:t>Advocacy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5356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356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356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325294"/>
                  </a:ext>
                </a:extLst>
              </a:tr>
              <a:tr h="771679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We understand priorities and support the business and their needs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rgbClr val="5356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356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2942098"/>
                  </a:ext>
                </a:extLst>
              </a:tr>
              <a:tr h="322881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obustness</a:t>
                      </a:r>
                    </a:p>
                  </a:txBody>
                  <a:tcPr>
                    <a:lnL w="12700" cap="flat" cmpd="sng" algn="ctr">
                      <a:solidFill>
                        <a:srgbClr val="5356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356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652924"/>
                  </a:ext>
                </a:extLst>
              </a:tr>
              <a:tr h="810387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We strive for uniformity and sustainability of trusted data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rgbClr val="5356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356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1396866"/>
                  </a:ext>
                </a:extLst>
              </a:tr>
              <a:tr h="322881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ccessibility</a:t>
                      </a:r>
                    </a:p>
                  </a:txBody>
                  <a:tcPr>
                    <a:lnL w="12700" cap="flat" cmpd="sng" algn="ctr">
                      <a:solidFill>
                        <a:srgbClr val="5356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356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477221"/>
                  </a:ext>
                </a:extLst>
              </a:tr>
              <a:tr h="787882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We endeavor to create practices that enhance data usability and transparency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rgbClr val="5356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356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8411994"/>
                  </a:ext>
                </a:extLst>
              </a:tr>
              <a:tr h="322881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mmunity</a:t>
                      </a:r>
                    </a:p>
                  </a:txBody>
                  <a:tcPr>
                    <a:lnL w="12700" cap="flat" cmpd="sng" algn="ctr">
                      <a:solidFill>
                        <a:srgbClr val="5356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356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6781013"/>
                  </a:ext>
                </a:extLst>
              </a:tr>
              <a:tr h="810387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We drive community through partnership and collaboration with stakeholders across [Insert Company Name] and share ownership while elevating data literacy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5356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356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5356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2066747"/>
                  </a:ext>
                </a:extLst>
              </a:tr>
            </a:tbl>
          </a:graphicData>
        </a:graphic>
      </p:graphicFrame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716D3786-BC57-9109-37A9-E0D1FD07CC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95348318"/>
              </p:ext>
            </p:extLst>
          </p:nvPr>
        </p:nvGraphicFramePr>
        <p:xfrm>
          <a:off x="362264" y="1609944"/>
          <a:ext cx="7647880" cy="39720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1767809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ySniXFyApYQmGFOHk.P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AGILENT 16-9">
  <a:themeElements>
    <a:clrScheme name="AGILENT COLORS">
      <a:dk1>
        <a:srgbClr val="53565A"/>
      </a:dk1>
      <a:lt1>
        <a:srgbClr val="FFFFFF"/>
      </a:lt1>
      <a:dk2>
        <a:srgbClr val="000000"/>
      </a:dk2>
      <a:lt2>
        <a:srgbClr val="FFFFFF"/>
      </a:lt2>
      <a:accent1>
        <a:srgbClr val="0085D5"/>
      </a:accent1>
      <a:accent2>
        <a:srgbClr val="F2A900"/>
      </a:accent2>
      <a:accent3>
        <a:srgbClr val="84BD00"/>
      </a:accent3>
      <a:accent4>
        <a:srgbClr val="00A9E0"/>
      </a:accent4>
      <a:accent5>
        <a:srgbClr val="00426A"/>
      </a:accent5>
      <a:accent6>
        <a:srgbClr val="D6001C"/>
      </a:accent6>
      <a:hlink>
        <a:srgbClr val="0085D5"/>
      </a:hlink>
      <a:folHlink>
        <a:srgbClr val="80276C"/>
      </a:folHlink>
    </a:clrScheme>
    <a:fontScheme name="AGILENT PPT &amp; OUTLOO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gilent 16-9" id="{3CB74861-FB5A-44F0-BCDF-2AC764DA9061}" vid="{67474137-489F-42F2-AD27-BD96EF6F8569}"/>
    </a:ext>
  </a:extLst>
</a:theme>
</file>

<file path=ppt/theme/theme3.xml><?xml version="1.0" encoding="utf-8"?>
<a:theme xmlns:a="http://schemas.openxmlformats.org/drawingml/2006/main" name="1_Office Theme">
  <a:themeElements>
    <a:clrScheme name="HireRigh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1010"/>
      </a:accent1>
      <a:accent2>
        <a:srgbClr val="757575"/>
      </a:accent2>
      <a:accent3>
        <a:srgbClr val="1F74DB"/>
      </a:accent3>
      <a:accent4>
        <a:srgbClr val="C9D716"/>
      </a:accent4>
      <a:accent5>
        <a:srgbClr val="25BAA7"/>
      </a:accent5>
      <a:accent6>
        <a:srgbClr val="FFC658"/>
      </a:accent6>
      <a:hlink>
        <a:srgbClr val="214069"/>
      </a:hlink>
      <a:folHlink>
        <a:srgbClr val="EA1010"/>
      </a:folHlink>
    </a:clrScheme>
    <a:fontScheme name="HireRigh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77989</TotalTime>
  <Words>211</Words>
  <Application>Microsoft Office PowerPoint</Application>
  <PresentationFormat>Widescreen</PresentationFormat>
  <Paragraphs>19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5" baseType="lpstr">
      <vt:lpstr>Arial</vt:lpstr>
      <vt:lpstr>Calibri</vt:lpstr>
      <vt:lpstr>Calibri Light</vt:lpstr>
      <vt:lpstr>Lucida Grande</vt:lpstr>
      <vt:lpstr>Roboto</vt:lpstr>
      <vt:lpstr>Roboto Light</vt:lpstr>
      <vt:lpstr>System Font Regular</vt:lpstr>
      <vt:lpstr>Verdana</vt:lpstr>
      <vt:lpstr>Wingdings</vt:lpstr>
      <vt:lpstr>Custom Design</vt:lpstr>
      <vt:lpstr>1_AGILENT 16-9</vt:lpstr>
      <vt:lpstr>1_Office Theme</vt:lpstr>
      <vt:lpstr>think-cell Slide</vt:lpstr>
      <vt:lpstr>Vision  &amp; Mission 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Patrick Jacolenne</dc:creator>
  <cp:keywords/>
  <dc:description/>
  <cp:lastModifiedBy>Patrick Jacolenne</cp:lastModifiedBy>
  <cp:revision>1544</cp:revision>
  <cp:lastPrinted>2022-01-25T19:11:12Z</cp:lastPrinted>
  <dcterms:created xsi:type="dcterms:W3CDTF">2013-04-15T13:08:21Z</dcterms:created>
  <dcterms:modified xsi:type="dcterms:W3CDTF">2023-08-17T17:36:57Z</dcterms:modified>
  <cp:category/>
</cp:coreProperties>
</file>